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8.xml" ContentType="application/vnd.openxmlformats-officedocument.presentationml.slide+xml"/>
  <Override PartName="/ppt/diagrams/data2.xml" ContentType="application/vnd.openxmlformats-officedocument.drawingml.diagramData+xml"/>
  <Override PartName="/ppt/diagrams/data1.xml" ContentType="application/vnd.openxmlformats-officedocument.drawingml.diagramData+xml"/>
  <Override PartName="/ppt/slides/slide9.xml" ContentType="application/vnd.openxmlformats-officedocument.presentationml.slide+xml"/>
  <Override PartName="/ppt/presentation.xml" ContentType="application/vnd.openxmlformats-officedocument.presentationml.presentation.main+xml"/>
  <Override PartName="/ppt/slides/slide7.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Masters/slideMaster7.xml" ContentType="application/vnd.openxmlformats-officedocument.presentationml.slideMaster+xml"/>
  <Override PartName="/ppt/slideMasters/slideMaster5.xml" ContentType="application/vnd.openxmlformats-officedocument.presentationml.slideMaster+xml"/>
  <Override PartName="/ppt/slideMasters/slideMaster9.xml" ContentType="application/vnd.openxmlformats-officedocument.presentationml.slideMaster+xml"/>
  <Override PartName="/ppt/slideMasters/slideMaster6.xml" ContentType="application/vnd.openxmlformats-officedocument.presentationml.slideMaster+xml"/>
  <Override PartName="/ppt/slideMasters/slideMaster8.xml" ContentType="application/vnd.openxmlformats-officedocument.presentationml.slideMaster+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7.xml" ContentType="application/vnd.openxmlformats-officedocument.presentationml.slideLayout+xml"/>
  <Override PartName="/ppt/slideLayouts/slideLayout16.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3.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5.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6.xml" ContentType="application/vnd.openxmlformats-officedocument.theme+xml"/>
  <Override PartName="/ppt/theme/theme9.xml" ContentType="application/vnd.openxmlformats-officedocument.theme+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10.xml" ContentType="application/vnd.openxmlformats-officedocument.theme+xml"/>
  <Override PartName="/ppt/theme/themeOverride1.xml" ContentType="application/vnd.openxmlformats-officedocument.themeOverrid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8" r:id="rId1"/>
    <p:sldMasterId id="2147483653" r:id="rId2"/>
    <p:sldMasterId id="2147483745" r:id="rId3"/>
    <p:sldMasterId id="2147483757" r:id="rId4"/>
    <p:sldMasterId id="2147483784" r:id="rId5"/>
    <p:sldMasterId id="2147483787" r:id="rId6"/>
    <p:sldMasterId id="2147483790" r:id="rId7"/>
    <p:sldMasterId id="2147483792" r:id="rId8"/>
    <p:sldMasterId id="2147483799" r:id="rId9"/>
  </p:sldMasterIdLst>
  <p:notesMasterIdLst>
    <p:notesMasterId r:id="rId19"/>
  </p:notesMasterIdLst>
  <p:sldIdLst>
    <p:sldId id="384" r:id="rId10"/>
    <p:sldId id="380" r:id="rId11"/>
    <p:sldId id="388" r:id="rId12"/>
    <p:sldId id="389" r:id="rId13"/>
    <p:sldId id="390" r:id="rId14"/>
    <p:sldId id="392" r:id="rId15"/>
    <p:sldId id="393" r:id="rId16"/>
    <p:sldId id="394" r:id="rId17"/>
    <p:sldId id="310"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567">
          <p15:clr>
            <a:srgbClr val="A4A3A4"/>
          </p15:clr>
        </p15:guide>
        <p15:guide id="3" pos="351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33"/>
    <a:srgbClr val="2C2C2C"/>
    <a:srgbClr val="33CCCC"/>
    <a:srgbClr val="FFFFCC"/>
    <a:srgbClr val="000000"/>
    <a:srgbClr val="00FF99"/>
    <a:srgbClr val="FFFF00"/>
    <a:srgbClr val="FF6633"/>
    <a:srgbClr val="990099"/>
    <a:srgbClr val="99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05" autoAdjust="0"/>
    <p:restoredTop sz="85613" autoAdjust="0"/>
  </p:normalViewPr>
  <p:slideViewPr>
    <p:cSldViewPr showGuides="1">
      <p:cViewPr>
        <p:scale>
          <a:sx n="66" d="100"/>
          <a:sy n="66" d="100"/>
        </p:scale>
        <p:origin x="-1254" y="-684"/>
      </p:cViewPr>
      <p:guideLst>
        <p:guide orient="horz" pos="935"/>
        <p:guide pos="369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ustomXml" Target="../customXml/item3.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eg"/><Relationship Id="rId1" Type="http://schemas.openxmlformats.org/officeDocument/2006/relationships/image" Target="../media/image15.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eg"/><Relationship Id="rId1"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3DE1F9-C951-490B-956A-E9781BC7501A}" type="doc">
      <dgm:prSet loTypeId="urn:microsoft.com/office/officeart/2005/8/layout/pList2" loCatId="list" qsTypeId="urn:microsoft.com/office/officeart/2005/8/quickstyle/simple1" qsCatId="simple" csTypeId="urn:microsoft.com/office/officeart/2005/8/colors/accent1_2" csCatId="accent1" phldr="1"/>
      <dgm:spPr/>
    </dgm:pt>
    <dgm:pt modelId="{318014B6-CFFF-4DCC-B0E5-91915C363BA2}">
      <dgm:prSet phldrT="[Texto]" custT="1"/>
      <dgm:spPr/>
      <dgm:t>
        <a:bodyPr/>
        <a:lstStyle/>
        <a:p>
          <a:pPr algn="ctr" defTabSz="622300">
            <a:lnSpc>
              <a:spcPct val="90000"/>
            </a:lnSpc>
            <a:spcBef>
              <a:spcPct val="0"/>
            </a:spcBef>
            <a:spcAft>
              <a:spcPct val="35000"/>
            </a:spcAft>
          </a:pPr>
          <a:r>
            <a:rPr lang="es-ES" sz="1400" b="1" dirty="0" smtClean="0">
              <a:solidFill>
                <a:schemeClr val="bg1"/>
              </a:solidFill>
            </a:rPr>
            <a:t>Operaciones </a:t>
          </a:r>
        </a:p>
        <a:p>
          <a:pPr algn="ctr" defTabSz="622300">
            <a:lnSpc>
              <a:spcPct val="90000"/>
            </a:lnSpc>
            <a:spcBef>
              <a:spcPct val="0"/>
            </a:spcBef>
            <a:spcAft>
              <a:spcPct val="35000"/>
            </a:spcAft>
          </a:pPr>
          <a:r>
            <a:rPr lang="es-ES" sz="1400" b="1" dirty="0" smtClean="0">
              <a:solidFill>
                <a:schemeClr val="bg1"/>
              </a:solidFill>
            </a:rPr>
            <a:t>Redes fijas y móviles</a:t>
          </a:r>
        </a:p>
        <a:p>
          <a:pPr marL="0" marR="0" indent="0" algn="l" defTabSz="914400" eaLnBrk="1" fontAlgn="auto" latinLnBrk="0" hangingPunct="1">
            <a:lnSpc>
              <a:spcPct val="100000"/>
            </a:lnSpc>
            <a:spcBef>
              <a:spcPts val="0"/>
            </a:spcBef>
            <a:spcAft>
              <a:spcPts val="0"/>
            </a:spcAft>
            <a:buClrTx/>
            <a:buSzTx/>
            <a:buFontTx/>
            <a:buNone/>
            <a:tabLst/>
            <a:defRPr/>
          </a:pPr>
          <a:r>
            <a:rPr lang="es-ES" sz="1400" dirty="0" smtClean="0">
              <a:solidFill>
                <a:schemeClr val="bg1"/>
              </a:solidFill>
            </a:rPr>
            <a:t>- -Equipos de conmutación, transmisión</a:t>
          </a:r>
        </a:p>
        <a:p>
          <a:pPr algn="l" defTabSz="622300">
            <a:lnSpc>
              <a:spcPct val="90000"/>
            </a:lnSpc>
            <a:spcBef>
              <a:spcPct val="0"/>
            </a:spcBef>
            <a:spcAft>
              <a:spcPct val="35000"/>
            </a:spcAft>
          </a:pPr>
          <a:r>
            <a:rPr lang="es-ES" sz="1400" dirty="0" smtClean="0">
              <a:solidFill>
                <a:schemeClr val="bg1"/>
              </a:solidFill>
            </a:rPr>
            <a:t>- Antenas </a:t>
          </a:r>
        </a:p>
        <a:p>
          <a:pPr algn="l" defTabSz="622300">
            <a:lnSpc>
              <a:spcPct val="90000"/>
            </a:lnSpc>
            <a:spcBef>
              <a:spcPct val="0"/>
            </a:spcBef>
            <a:spcAft>
              <a:spcPct val="35000"/>
            </a:spcAft>
          </a:pPr>
          <a:r>
            <a:rPr lang="es-ES" sz="1400" dirty="0" smtClean="0">
              <a:solidFill>
                <a:schemeClr val="bg1"/>
              </a:solidFill>
            </a:rPr>
            <a:t>- Equipos de RF…</a:t>
          </a:r>
        </a:p>
      </dgm:t>
    </dgm:pt>
    <dgm:pt modelId="{1D742FE4-B802-4332-8CE0-E2DC4AD34104}" type="parTrans" cxnId="{43933B82-5193-48E4-9425-C8FC6E4DD511}">
      <dgm:prSet/>
      <dgm:spPr/>
      <dgm:t>
        <a:bodyPr/>
        <a:lstStyle/>
        <a:p>
          <a:endParaRPr lang="es-ES"/>
        </a:p>
      </dgm:t>
    </dgm:pt>
    <dgm:pt modelId="{91D129C6-4720-4F6A-9C51-AA1F5AFFC85A}" type="sibTrans" cxnId="{43933B82-5193-48E4-9425-C8FC6E4DD511}">
      <dgm:prSet/>
      <dgm:spPr/>
      <dgm:t>
        <a:bodyPr/>
        <a:lstStyle/>
        <a:p>
          <a:endParaRPr lang="es-ES"/>
        </a:p>
      </dgm:t>
    </dgm:pt>
    <dgm:pt modelId="{FD1E2E40-C4A0-4E75-9DC8-A67DED30C0E8}">
      <dgm:prSet phldrT="[Texto]" custT="1"/>
      <dgm:spPr/>
      <dgm:t>
        <a:bodyPr/>
        <a:lstStyle/>
        <a:p>
          <a:pPr algn="ctr"/>
          <a:r>
            <a:rPr lang="es-ES" sz="1400" b="1" dirty="0" smtClean="0">
              <a:solidFill>
                <a:schemeClr val="bg1"/>
              </a:solidFill>
            </a:rPr>
            <a:t>Oficinas y Logística</a:t>
          </a:r>
        </a:p>
        <a:p>
          <a:pPr algn="l"/>
          <a:r>
            <a:rPr lang="es-ES" sz="1400" dirty="0" smtClean="0">
              <a:solidFill>
                <a:schemeClr val="bg1"/>
              </a:solidFill>
            </a:rPr>
            <a:t>- Ordenadores</a:t>
          </a:r>
        </a:p>
        <a:p>
          <a:pPr algn="l"/>
          <a:r>
            <a:rPr lang="es-ES" sz="1400" dirty="0" smtClean="0">
              <a:solidFill>
                <a:schemeClr val="bg1"/>
              </a:solidFill>
            </a:rPr>
            <a:t>- Teléfonos</a:t>
          </a:r>
        </a:p>
        <a:p>
          <a:pPr algn="l"/>
          <a:r>
            <a:rPr lang="es-ES" sz="1400" dirty="0" smtClean="0">
              <a:solidFill>
                <a:schemeClr val="bg1"/>
              </a:solidFill>
            </a:rPr>
            <a:t>- Equipos obsoletos</a:t>
          </a:r>
        </a:p>
        <a:p>
          <a:pPr algn="l"/>
          <a:r>
            <a:rPr lang="es-ES" sz="1400" dirty="0" smtClean="0">
              <a:solidFill>
                <a:schemeClr val="bg1"/>
              </a:solidFill>
            </a:rPr>
            <a:t>- …</a:t>
          </a:r>
        </a:p>
        <a:p>
          <a:pPr algn="l"/>
          <a:endParaRPr lang="es-ES" sz="1400" dirty="0">
            <a:solidFill>
              <a:schemeClr val="bg1"/>
            </a:solidFill>
          </a:endParaRPr>
        </a:p>
      </dgm:t>
    </dgm:pt>
    <dgm:pt modelId="{6915854F-5E9B-4B93-B226-AA1956282AF7}" type="parTrans" cxnId="{B7A2BC30-93D1-4648-915A-6B9B3F838380}">
      <dgm:prSet/>
      <dgm:spPr/>
      <dgm:t>
        <a:bodyPr/>
        <a:lstStyle/>
        <a:p>
          <a:endParaRPr lang="es-ES"/>
        </a:p>
      </dgm:t>
    </dgm:pt>
    <dgm:pt modelId="{95423650-BCBF-4985-9BA7-43BFF5ACBA67}" type="sibTrans" cxnId="{B7A2BC30-93D1-4648-915A-6B9B3F838380}">
      <dgm:prSet/>
      <dgm:spPr/>
      <dgm:t>
        <a:bodyPr/>
        <a:lstStyle/>
        <a:p>
          <a:endParaRPr lang="es-ES"/>
        </a:p>
      </dgm:t>
    </dgm:pt>
    <dgm:pt modelId="{24B8C4AB-A76F-4294-B526-7B94FFCB1AC3}">
      <dgm:prSet phldrT="[Texto]" custT="1"/>
      <dgm:spPr/>
      <dgm:t>
        <a:bodyPr/>
        <a:lstStyle/>
        <a:p>
          <a:pPr algn="ctr"/>
          <a:r>
            <a:rPr lang="es-ES" sz="1400" b="1" dirty="0" smtClean="0">
              <a:solidFill>
                <a:schemeClr val="bg1"/>
              </a:solidFill>
            </a:rPr>
            <a:t>Clientes residenciales y corporativos</a:t>
          </a:r>
        </a:p>
        <a:p>
          <a:pPr algn="l"/>
          <a:r>
            <a:rPr lang="es-ES" sz="1400" dirty="0" smtClean="0">
              <a:solidFill>
                <a:schemeClr val="bg1"/>
              </a:solidFill>
            </a:rPr>
            <a:t>- Teléfonos</a:t>
          </a:r>
        </a:p>
        <a:p>
          <a:pPr algn="l"/>
          <a:r>
            <a:rPr lang="es-ES" sz="1400" dirty="0" smtClean="0">
              <a:solidFill>
                <a:schemeClr val="bg1"/>
              </a:solidFill>
            </a:rPr>
            <a:t>- </a:t>
          </a:r>
          <a:r>
            <a:rPr lang="es-ES" sz="1400" dirty="0" err="1" smtClean="0">
              <a:solidFill>
                <a:schemeClr val="bg1"/>
              </a:solidFill>
            </a:rPr>
            <a:t>Routers</a:t>
          </a:r>
          <a:endParaRPr lang="es-ES" sz="1400" dirty="0" smtClean="0">
            <a:solidFill>
              <a:schemeClr val="bg1"/>
            </a:solidFill>
          </a:endParaRPr>
        </a:p>
        <a:p>
          <a:pPr algn="l"/>
          <a:r>
            <a:rPr lang="es-ES" sz="1400" dirty="0" smtClean="0">
              <a:solidFill>
                <a:schemeClr val="bg1"/>
              </a:solidFill>
            </a:rPr>
            <a:t>- Centralitas</a:t>
          </a:r>
        </a:p>
        <a:p>
          <a:pPr algn="l"/>
          <a:r>
            <a:rPr lang="es-ES" sz="1400" dirty="0" smtClean="0">
              <a:solidFill>
                <a:schemeClr val="bg1"/>
              </a:solidFill>
            </a:rPr>
            <a:t>- Ordenadores</a:t>
          </a:r>
        </a:p>
        <a:p>
          <a:pPr algn="l"/>
          <a:r>
            <a:rPr lang="es-ES" sz="1400" dirty="0" smtClean="0">
              <a:solidFill>
                <a:schemeClr val="bg1"/>
              </a:solidFill>
            </a:rPr>
            <a:t>- …</a:t>
          </a:r>
          <a:endParaRPr lang="es-ES" sz="1400" dirty="0">
            <a:solidFill>
              <a:schemeClr val="bg1"/>
            </a:solidFill>
          </a:endParaRPr>
        </a:p>
      </dgm:t>
    </dgm:pt>
    <dgm:pt modelId="{265AD510-B271-45E5-91ED-3B2017CF6A05}" type="parTrans" cxnId="{F9F6CE72-A083-4147-830F-A4ADBB44F55E}">
      <dgm:prSet/>
      <dgm:spPr/>
      <dgm:t>
        <a:bodyPr/>
        <a:lstStyle/>
        <a:p>
          <a:endParaRPr lang="es-ES"/>
        </a:p>
      </dgm:t>
    </dgm:pt>
    <dgm:pt modelId="{37D13230-6E78-4C51-A200-870841624210}" type="sibTrans" cxnId="{F9F6CE72-A083-4147-830F-A4ADBB44F55E}">
      <dgm:prSet/>
      <dgm:spPr/>
      <dgm:t>
        <a:bodyPr/>
        <a:lstStyle/>
        <a:p>
          <a:endParaRPr lang="es-ES"/>
        </a:p>
      </dgm:t>
    </dgm:pt>
    <dgm:pt modelId="{300C5BFD-AAA8-4732-975C-F44F96FC0AEC}" type="pres">
      <dgm:prSet presAssocID="{513DE1F9-C951-490B-956A-E9781BC7501A}" presName="Name0" presStyleCnt="0">
        <dgm:presLayoutVars>
          <dgm:dir/>
          <dgm:resizeHandles val="exact"/>
        </dgm:presLayoutVars>
      </dgm:prSet>
      <dgm:spPr/>
    </dgm:pt>
    <dgm:pt modelId="{E6506AB2-099F-4887-9E26-94FFACCD634F}" type="pres">
      <dgm:prSet presAssocID="{513DE1F9-C951-490B-956A-E9781BC7501A}" presName="bkgdShp" presStyleLbl="alignAccFollowNode1" presStyleIdx="0" presStyleCnt="1" custLinFactNeighborY="-7834"/>
      <dgm:spPr/>
    </dgm:pt>
    <dgm:pt modelId="{9F85CA61-852B-4D02-B02B-EF555A842EA3}" type="pres">
      <dgm:prSet presAssocID="{513DE1F9-C951-490B-956A-E9781BC7501A}" presName="linComp" presStyleCnt="0"/>
      <dgm:spPr/>
    </dgm:pt>
    <dgm:pt modelId="{DB6DE150-C25D-4656-A7AD-31BCEF5A19D1}" type="pres">
      <dgm:prSet presAssocID="{318014B6-CFFF-4DCC-B0E5-91915C363BA2}" presName="compNode" presStyleCnt="0"/>
      <dgm:spPr/>
    </dgm:pt>
    <dgm:pt modelId="{ABEB1389-8692-48D7-8BD0-42BFFCDDB6FD}" type="pres">
      <dgm:prSet presAssocID="{318014B6-CFFF-4DCC-B0E5-91915C363BA2}" presName="node" presStyleLbl="node1" presStyleIdx="0" presStyleCnt="3">
        <dgm:presLayoutVars>
          <dgm:bulletEnabled val="1"/>
        </dgm:presLayoutVars>
      </dgm:prSet>
      <dgm:spPr/>
      <dgm:t>
        <a:bodyPr/>
        <a:lstStyle/>
        <a:p>
          <a:endParaRPr lang="es-ES"/>
        </a:p>
      </dgm:t>
    </dgm:pt>
    <dgm:pt modelId="{D66AA29E-A77C-423A-ABA1-1E8CC64DB0D4}" type="pres">
      <dgm:prSet presAssocID="{318014B6-CFFF-4DCC-B0E5-91915C363BA2}" presName="invisiNode" presStyleLbl="node1" presStyleIdx="0" presStyleCnt="3"/>
      <dgm:spPr/>
    </dgm:pt>
    <dgm:pt modelId="{28B7A5E5-E3CE-44D4-9B1A-46F92624632A}" type="pres">
      <dgm:prSet presAssocID="{318014B6-CFFF-4DCC-B0E5-91915C363BA2}" presName="imagNode" presStyleLbl="fgImgPlace1" presStyleIdx="0" presStyleCnt="3"/>
      <dgm:spPr>
        <a:blipFill rotWithShape="1">
          <a:blip xmlns:r="http://schemas.openxmlformats.org/officeDocument/2006/relationships" r:embed="rId1"/>
          <a:stretch>
            <a:fillRect/>
          </a:stretch>
        </a:blipFill>
      </dgm:spPr>
    </dgm:pt>
    <dgm:pt modelId="{5D48691D-75B9-4FAE-A0CB-0D542E5B8A12}" type="pres">
      <dgm:prSet presAssocID="{91D129C6-4720-4F6A-9C51-AA1F5AFFC85A}" presName="sibTrans" presStyleLbl="sibTrans2D1" presStyleIdx="0" presStyleCnt="0"/>
      <dgm:spPr/>
      <dgm:t>
        <a:bodyPr/>
        <a:lstStyle/>
        <a:p>
          <a:endParaRPr lang="es-ES"/>
        </a:p>
      </dgm:t>
    </dgm:pt>
    <dgm:pt modelId="{C84481C6-CBD5-438F-8C1E-E3E649546913}" type="pres">
      <dgm:prSet presAssocID="{FD1E2E40-C4A0-4E75-9DC8-A67DED30C0E8}" presName="compNode" presStyleCnt="0"/>
      <dgm:spPr/>
    </dgm:pt>
    <dgm:pt modelId="{DB7186D4-4F1E-4095-BE40-68FFC90A6655}" type="pres">
      <dgm:prSet presAssocID="{FD1E2E40-C4A0-4E75-9DC8-A67DED30C0E8}" presName="node" presStyleLbl="node1" presStyleIdx="1" presStyleCnt="3">
        <dgm:presLayoutVars>
          <dgm:bulletEnabled val="1"/>
        </dgm:presLayoutVars>
      </dgm:prSet>
      <dgm:spPr/>
      <dgm:t>
        <a:bodyPr/>
        <a:lstStyle/>
        <a:p>
          <a:endParaRPr lang="es-ES"/>
        </a:p>
      </dgm:t>
    </dgm:pt>
    <dgm:pt modelId="{1463C470-F482-48B2-92FD-B411297EF9E8}" type="pres">
      <dgm:prSet presAssocID="{FD1E2E40-C4A0-4E75-9DC8-A67DED30C0E8}" presName="invisiNode" presStyleLbl="node1" presStyleIdx="1" presStyleCnt="3"/>
      <dgm:spPr/>
    </dgm:pt>
    <dgm:pt modelId="{E1B4FCCD-3587-4B6E-BAF2-F835480024B4}" type="pres">
      <dgm:prSet presAssocID="{FD1E2E40-C4A0-4E75-9DC8-A67DED30C0E8}" presName="imagNode"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4000" r="-4000"/>
          </a:stretch>
        </a:blipFill>
      </dgm:spPr>
    </dgm:pt>
    <dgm:pt modelId="{2CE5F98F-FA0B-460D-9796-25A948022CAD}" type="pres">
      <dgm:prSet presAssocID="{95423650-BCBF-4985-9BA7-43BFF5ACBA67}" presName="sibTrans" presStyleLbl="sibTrans2D1" presStyleIdx="0" presStyleCnt="0"/>
      <dgm:spPr/>
      <dgm:t>
        <a:bodyPr/>
        <a:lstStyle/>
        <a:p>
          <a:endParaRPr lang="es-ES"/>
        </a:p>
      </dgm:t>
    </dgm:pt>
    <dgm:pt modelId="{807254B2-CC5D-41A9-946B-92FD8D08D982}" type="pres">
      <dgm:prSet presAssocID="{24B8C4AB-A76F-4294-B526-7B94FFCB1AC3}" presName="compNode" presStyleCnt="0"/>
      <dgm:spPr/>
    </dgm:pt>
    <dgm:pt modelId="{A8DB31DD-9158-4FFA-BA99-17E4C7700352}" type="pres">
      <dgm:prSet presAssocID="{24B8C4AB-A76F-4294-B526-7B94FFCB1AC3}" presName="node" presStyleLbl="node1" presStyleIdx="2" presStyleCnt="3">
        <dgm:presLayoutVars>
          <dgm:bulletEnabled val="1"/>
        </dgm:presLayoutVars>
      </dgm:prSet>
      <dgm:spPr/>
      <dgm:t>
        <a:bodyPr/>
        <a:lstStyle/>
        <a:p>
          <a:endParaRPr lang="es-ES"/>
        </a:p>
      </dgm:t>
    </dgm:pt>
    <dgm:pt modelId="{AEC21756-84ED-49F5-9789-05CEF1645FA0}" type="pres">
      <dgm:prSet presAssocID="{24B8C4AB-A76F-4294-B526-7B94FFCB1AC3}" presName="invisiNode" presStyleLbl="node1" presStyleIdx="2" presStyleCnt="3"/>
      <dgm:spPr/>
    </dgm:pt>
    <dgm:pt modelId="{B4836C17-4CF0-4ED6-9D32-DA9BC96E3204}" type="pres">
      <dgm:prSet presAssocID="{24B8C4AB-A76F-4294-B526-7B94FFCB1AC3}"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t="-1000" b="-1000"/>
          </a:stretch>
        </a:blipFill>
      </dgm:spPr>
    </dgm:pt>
  </dgm:ptLst>
  <dgm:cxnLst>
    <dgm:cxn modelId="{7A585DFE-5464-458F-B230-84C5526E0331}" type="presOf" srcId="{91D129C6-4720-4F6A-9C51-AA1F5AFFC85A}" destId="{5D48691D-75B9-4FAE-A0CB-0D542E5B8A12}" srcOrd="0" destOrd="0" presId="urn:microsoft.com/office/officeart/2005/8/layout/pList2"/>
    <dgm:cxn modelId="{B7A2BC30-93D1-4648-915A-6B9B3F838380}" srcId="{513DE1F9-C951-490B-956A-E9781BC7501A}" destId="{FD1E2E40-C4A0-4E75-9DC8-A67DED30C0E8}" srcOrd="1" destOrd="0" parTransId="{6915854F-5E9B-4B93-B226-AA1956282AF7}" sibTransId="{95423650-BCBF-4985-9BA7-43BFF5ACBA67}"/>
    <dgm:cxn modelId="{43933B82-5193-48E4-9425-C8FC6E4DD511}" srcId="{513DE1F9-C951-490B-956A-E9781BC7501A}" destId="{318014B6-CFFF-4DCC-B0E5-91915C363BA2}" srcOrd="0" destOrd="0" parTransId="{1D742FE4-B802-4332-8CE0-E2DC4AD34104}" sibTransId="{91D129C6-4720-4F6A-9C51-AA1F5AFFC85A}"/>
    <dgm:cxn modelId="{A49C67E3-CE40-4B53-A1F8-50AC77BA0556}" type="presOf" srcId="{24B8C4AB-A76F-4294-B526-7B94FFCB1AC3}" destId="{A8DB31DD-9158-4FFA-BA99-17E4C7700352}" srcOrd="0" destOrd="0" presId="urn:microsoft.com/office/officeart/2005/8/layout/pList2"/>
    <dgm:cxn modelId="{B7B1779B-3D38-4A9A-A5C3-B6901419279E}" type="presOf" srcId="{513DE1F9-C951-490B-956A-E9781BC7501A}" destId="{300C5BFD-AAA8-4732-975C-F44F96FC0AEC}" srcOrd="0" destOrd="0" presId="urn:microsoft.com/office/officeart/2005/8/layout/pList2"/>
    <dgm:cxn modelId="{822B788D-5B6B-45E7-BFCD-940260E9536D}" type="presOf" srcId="{318014B6-CFFF-4DCC-B0E5-91915C363BA2}" destId="{ABEB1389-8692-48D7-8BD0-42BFFCDDB6FD}" srcOrd="0" destOrd="0" presId="urn:microsoft.com/office/officeart/2005/8/layout/pList2"/>
    <dgm:cxn modelId="{F9F6CE72-A083-4147-830F-A4ADBB44F55E}" srcId="{513DE1F9-C951-490B-956A-E9781BC7501A}" destId="{24B8C4AB-A76F-4294-B526-7B94FFCB1AC3}" srcOrd="2" destOrd="0" parTransId="{265AD510-B271-45E5-91ED-3B2017CF6A05}" sibTransId="{37D13230-6E78-4C51-A200-870841624210}"/>
    <dgm:cxn modelId="{C111A6D5-0835-40CD-AB57-1E85FC0DE0D8}" type="presOf" srcId="{95423650-BCBF-4985-9BA7-43BFF5ACBA67}" destId="{2CE5F98F-FA0B-460D-9796-25A948022CAD}" srcOrd="0" destOrd="0" presId="urn:microsoft.com/office/officeart/2005/8/layout/pList2"/>
    <dgm:cxn modelId="{519EF2C5-3B86-4618-98D9-3F86AEE5507F}" type="presOf" srcId="{FD1E2E40-C4A0-4E75-9DC8-A67DED30C0E8}" destId="{DB7186D4-4F1E-4095-BE40-68FFC90A6655}" srcOrd="0" destOrd="0" presId="urn:microsoft.com/office/officeart/2005/8/layout/pList2"/>
    <dgm:cxn modelId="{CF52C6C1-CE5C-44CA-B6E7-4CC68086E154}" type="presParOf" srcId="{300C5BFD-AAA8-4732-975C-F44F96FC0AEC}" destId="{E6506AB2-099F-4887-9E26-94FFACCD634F}" srcOrd="0" destOrd="0" presId="urn:microsoft.com/office/officeart/2005/8/layout/pList2"/>
    <dgm:cxn modelId="{0DE1C52C-9CB3-49F3-86CA-0A9ADF5E5566}" type="presParOf" srcId="{300C5BFD-AAA8-4732-975C-F44F96FC0AEC}" destId="{9F85CA61-852B-4D02-B02B-EF555A842EA3}" srcOrd="1" destOrd="0" presId="urn:microsoft.com/office/officeart/2005/8/layout/pList2"/>
    <dgm:cxn modelId="{3B02DAA4-D63D-4908-BDAC-079EDA83037A}" type="presParOf" srcId="{9F85CA61-852B-4D02-B02B-EF555A842EA3}" destId="{DB6DE150-C25D-4656-A7AD-31BCEF5A19D1}" srcOrd="0" destOrd="0" presId="urn:microsoft.com/office/officeart/2005/8/layout/pList2"/>
    <dgm:cxn modelId="{26E3237F-82FE-4812-83C3-A6E6ED0AECE0}" type="presParOf" srcId="{DB6DE150-C25D-4656-A7AD-31BCEF5A19D1}" destId="{ABEB1389-8692-48D7-8BD0-42BFFCDDB6FD}" srcOrd="0" destOrd="0" presId="urn:microsoft.com/office/officeart/2005/8/layout/pList2"/>
    <dgm:cxn modelId="{F2D85133-C8FB-4029-A155-23524D8FBCDE}" type="presParOf" srcId="{DB6DE150-C25D-4656-A7AD-31BCEF5A19D1}" destId="{D66AA29E-A77C-423A-ABA1-1E8CC64DB0D4}" srcOrd="1" destOrd="0" presId="urn:microsoft.com/office/officeart/2005/8/layout/pList2"/>
    <dgm:cxn modelId="{FFB3849A-1E04-4846-9554-DCD0DD55778A}" type="presParOf" srcId="{DB6DE150-C25D-4656-A7AD-31BCEF5A19D1}" destId="{28B7A5E5-E3CE-44D4-9B1A-46F92624632A}" srcOrd="2" destOrd="0" presId="urn:microsoft.com/office/officeart/2005/8/layout/pList2"/>
    <dgm:cxn modelId="{BAF187BD-C0B3-48C5-8406-E23492DF1A7A}" type="presParOf" srcId="{9F85CA61-852B-4D02-B02B-EF555A842EA3}" destId="{5D48691D-75B9-4FAE-A0CB-0D542E5B8A12}" srcOrd="1" destOrd="0" presId="urn:microsoft.com/office/officeart/2005/8/layout/pList2"/>
    <dgm:cxn modelId="{38568041-F769-452C-9CCF-AD3047141A8E}" type="presParOf" srcId="{9F85CA61-852B-4D02-B02B-EF555A842EA3}" destId="{C84481C6-CBD5-438F-8C1E-E3E649546913}" srcOrd="2" destOrd="0" presId="urn:microsoft.com/office/officeart/2005/8/layout/pList2"/>
    <dgm:cxn modelId="{6A379496-1BF5-4B6D-ACB4-DA489ED10C48}" type="presParOf" srcId="{C84481C6-CBD5-438F-8C1E-E3E649546913}" destId="{DB7186D4-4F1E-4095-BE40-68FFC90A6655}" srcOrd="0" destOrd="0" presId="urn:microsoft.com/office/officeart/2005/8/layout/pList2"/>
    <dgm:cxn modelId="{90961FE5-BA20-46EF-90E2-2CD9F260E159}" type="presParOf" srcId="{C84481C6-CBD5-438F-8C1E-E3E649546913}" destId="{1463C470-F482-48B2-92FD-B411297EF9E8}" srcOrd="1" destOrd="0" presId="urn:microsoft.com/office/officeart/2005/8/layout/pList2"/>
    <dgm:cxn modelId="{6C54CF42-5A3E-4D4D-A1F0-13FBFB47F9D2}" type="presParOf" srcId="{C84481C6-CBD5-438F-8C1E-E3E649546913}" destId="{E1B4FCCD-3587-4B6E-BAF2-F835480024B4}" srcOrd="2" destOrd="0" presId="urn:microsoft.com/office/officeart/2005/8/layout/pList2"/>
    <dgm:cxn modelId="{78248F38-41A0-4077-840A-FE3E429E9B13}" type="presParOf" srcId="{9F85CA61-852B-4D02-B02B-EF555A842EA3}" destId="{2CE5F98F-FA0B-460D-9796-25A948022CAD}" srcOrd="3" destOrd="0" presId="urn:microsoft.com/office/officeart/2005/8/layout/pList2"/>
    <dgm:cxn modelId="{7F1A5B1F-EF4F-4509-BE1B-656553A2EDFC}" type="presParOf" srcId="{9F85CA61-852B-4D02-B02B-EF555A842EA3}" destId="{807254B2-CC5D-41A9-946B-92FD8D08D982}" srcOrd="4" destOrd="0" presId="urn:microsoft.com/office/officeart/2005/8/layout/pList2"/>
    <dgm:cxn modelId="{CEE0D6F3-F482-4D24-84A4-3421C65AE3CF}" type="presParOf" srcId="{807254B2-CC5D-41A9-946B-92FD8D08D982}" destId="{A8DB31DD-9158-4FFA-BA99-17E4C7700352}" srcOrd="0" destOrd="0" presId="urn:microsoft.com/office/officeart/2005/8/layout/pList2"/>
    <dgm:cxn modelId="{17FCAD9F-0901-4667-ACBB-7C571535F46C}" type="presParOf" srcId="{807254B2-CC5D-41A9-946B-92FD8D08D982}" destId="{AEC21756-84ED-49F5-9789-05CEF1645FA0}" srcOrd="1" destOrd="0" presId="urn:microsoft.com/office/officeart/2005/8/layout/pList2"/>
    <dgm:cxn modelId="{907A49B2-51B4-4FEB-9A2F-042BFAC2299F}" type="presParOf" srcId="{807254B2-CC5D-41A9-946B-92FD8D08D982}" destId="{B4836C17-4CF0-4ED6-9D32-DA9BC96E3204}"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C0D02F-87A0-48C1-A0C4-7907B45A0638}"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s-ES"/>
        </a:p>
      </dgm:t>
    </dgm:pt>
    <dgm:pt modelId="{18ADF14D-97CB-4583-8B96-0B4085CB88BF}">
      <dgm:prSet phldrT="[Texto]" custT="1"/>
      <dgm:spPr/>
      <dgm:t>
        <a:bodyPr/>
        <a:lstStyle/>
        <a:p>
          <a:r>
            <a:rPr lang="es-ES" sz="1600" b="1" dirty="0" smtClean="0"/>
            <a:t>Legislación ambiental heterogénea en los distintos países</a:t>
          </a:r>
        </a:p>
        <a:p>
          <a:r>
            <a:rPr lang="es-ES" sz="1600" dirty="0" smtClean="0">
              <a:sym typeface="Wingdings" pitchFamily="2" charset="2"/>
            </a:rPr>
            <a:t> definir roles y responsabilidades (productor, distribuidor, consumidor)</a:t>
          </a:r>
          <a:endParaRPr lang="es-ES" sz="1600" dirty="0"/>
        </a:p>
      </dgm:t>
    </dgm:pt>
    <dgm:pt modelId="{72F1CBB6-2035-4BB4-B789-9419DB60CD7C}" type="parTrans" cxnId="{227C2B68-4EA7-42EA-8125-DC25A56C389E}">
      <dgm:prSet/>
      <dgm:spPr/>
      <dgm:t>
        <a:bodyPr/>
        <a:lstStyle/>
        <a:p>
          <a:endParaRPr lang="es-ES" sz="2000">
            <a:solidFill>
              <a:schemeClr val="tx1">
                <a:lumMod val="75000"/>
                <a:lumOff val="25000"/>
              </a:schemeClr>
            </a:solidFill>
          </a:endParaRPr>
        </a:p>
      </dgm:t>
    </dgm:pt>
    <dgm:pt modelId="{E8E9CB3C-FD11-46FB-879E-71E6A75F4861}" type="sibTrans" cxnId="{227C2B68-4EA7-42EA-8125-DC25A56C389E}">
      <dgm:prSet/>
      <dgm:spPr/>
      <dgm:t>
        <a:bodyPr/>
        <a:lstStyle/>
        <a:p>
          <a:endParaRPr lang="es-ES" sz="2000">
            <a:solidFill>
              <a:schemeClr val="tx1">
                <a:lumMod val="75000"/>
                <a:lumOff val="25000"/>
              </a:schemeClr>
            </a:solidFill>
          </a:endParaRPr>
        </a:p>
      </dgm:t>
    </dgm:pt>
    <dgm:pt modelId="{CE1D133D-0516-4011-9EE0-BDC933F26BCD}">
      <dgm:prSet phldrT="[Texto]" custT="1"/>
      <dgm:spPr/>
      <dgm:t>
        <a:bodyPr/>
        <a:lstStyle/>
        <a:p>
          <a:r>
            <a:rPr lang="es-ES" sz="1600" b="1" smtClean="0"/>
            <a:t>Falta de gestores de residuos calificados a nivel local </a:t>
          </a:r>
        </a:p>
        <a:p>
          <a:r>
            <a:rPr lang="es-ES" sz="1600" smtClean="0">
              <a:sym typeface="Wingdings" pitchFamily="2" charset="2"/>
            </a:rPr>
            <a:t> necesidad de alternativas de gestión</a:t>
          </a:r>
          <a:endParaRPr lang="es-ES" sz="1600" dirty="0"/>
        </a:p>
      </dgm:t>
    </dgm:pt>
    <dgm:pt modelId="{5C40119B-EB28-4B59-A2E3-A251A89D1851}" type="parTrans" cxnId="{2E3BE297-61BA-41A5-B6F3-0279C9D1193C}">
      <dgm:prSet/>
      <dgm:spPr/>
      <dgm:t>
        <a:bodyPr/>
        <a:lstStyle/>
        <a:p>
          <a:endParaRPr lang="es-ES" sz="2000">
            <a:solidFill>
              <a:schemeClr val="tx1">
                <a:lumMod val="75000"/>
                <a:lumOff val="25000"/>
              </a:schemeClr>
            </a:solidFill>
          </a:endParaRPr>
        </a:p>
      </dgm:t>
    </dgm:pt>
    <dgm:pt modelId="{87E3BAE4-2FC5-43AA-B283-72A8FF60BA83}" type="sibTrans" cxnId="{2E3BE297-61BA-41A5-B6F3-0279C9D1193C}">
      <dgm:prSet/>
      <dgm:spPr/>
      <dgm:t>
        <a:bodyPr/>
        <a:lstStyle/>
        <a:p>
          <a:endParaRPr lang="es-ES" sz="2000">
            <a:solidFill>
              <a:schemeClr val="tx1">
                <a:lumMod val="75000"/>
                <a:lumOff val="25000"/>
              </a:schemeClr>
            </a:solidFill>
          </a:endParaRPr>
        </a:p>
      </dgm:t>
    </dgm:pt>
    <dgm:pt modelId="{42C21F58-7886-4613-9D4C-49587D10BD50}">
      <dgm:prSet phldrT="[Texto]" custT="1"/>
      <dgm:spPr/>
      <dgm:t>
        <a:bodyPr/>
        <a:lstStyle/>
        <a:p>
          <a:r>
            <a:rPr lang="es-ES" sz="1600" b="1" smtClean="0"/>
            <a:t>Costes de planes de gestión sostenibles y eco-eficientes</a:t>
          </a:r>
        </a:p>
        <a:p>
          <a:r>
            <a:rPr lang="es-ES" sz="1600" smtClean="0">
              <a:sym typeface="Wingdings" pitchFamily="2" charset="2"/>
            </a:rPr>
            <a:t> necesidad de reducir cargas financieras </a:t>
          </a:r>
          <a:endParaRPr lang="es-ES" sz="1600" dirty="0" smtClean="0"/>
        </a:p>
      </dgm:t>
    </dgm:pt>
    <dgm:pt modelId="{188DF120-8B11-4775-91B1-7F19A820EF52}" type="parTrans" cxnId="{211BFD42-D4F4-4DDF-B54C-BE2F7C512011}">
      <dgm:prSet/>
      <dgm:spPr/>
      <dgm:t>
        <a:bodyPr/>
        <a:lstStyle/>
        <a:p>
          <a:endParaRPr lang="es-ES" sz="2000">
            <a:solidFill>
              <a:schemeClr val="tx1">
                <a:lumMod val="75000"/>
                <a:lumOff val="25000"/>
              </a:schemeClr>
            </a:solidFill>
          </a:endParaRPr>
        </a:p>
      </dgm:t>
    </dgm:pt>
    <dgm:pt modelId="{89A1B456-2849-4FE9-9E29-A7EC4A5268C2}" type="sibTrans" cxnId="{211BFD42-D4F4-4DDF-B54C-BE2F7C512011}">
      <dgm:prSet/>
      <dgm:spPr/>
      <dgm:t>
        <a:bodyPr/>
        <a:lstStyle/>
        <a:p>
          <a:endParaRPr lang="es-ES" sz="2000">
            <a:solidFill>
              <a:schemeClr val="tx1">
                <a:lumMod val="75000"/>
                <a:lumOff val="25000"/>
              </a:schemeClr>
            </a:solidFill>
          </a:endParaRPr>
        </a:p>
      </dgm:t>
    </dgm:pt>
    <dgm:pt modelId="{9FD0E47B-6790-47ED-8AB2-DFB56B86FE15}">
      <dgm:prSet phldrT="[Texto]" custT="1"/>
      <dgm:spPr/>
      <dgm:t>
        <a:bodyPr/>
        <a:lstStyle/>
        <a:p>
          <a:r>
            <a:rPr lang="es-ES" sz="1600" b="1" smtClean="0"/>
            <a:t>Requerimiento de almacenamiento temporal de residuos </a:t>
          </a:r>
        </a:p>
        <a:p>
          <a:r>
            <a:rPr lang="es-ES" sz="1600" smtClean="0">
              <a:sym typeface="Wingdings" pitchFamily="2" charset="2"/>
            </a:rPr>
            <a:t> necesidad de sistemas de logística coordinados</a:t>
          </a:r>
          <a:endParaRPr lang="es-ES" sz="1600" dirty="0" smtClean="0"/>
        </a:p>
      </dgm:t>
    </dgm:pt>
    <dgm:pt modelId="{E53B8CB4-BE7D-4FD7-BFF6-6649D475BABB}" type="parTrans" cxnId="{62CBEB19-2279-4EF3-A19A-00E4633312EA}">
      <dgm:prSet/>
      <dgm:spPr/>
      <dgm:t>
        <a:bodyPr/>
        <a:lstStyle/>
        <a:p>
          <a:endParaRPr lang="es-ES" sz="2000">
            <a:solidFill>
              <a:schemeClr val="tx1">
                <a:lumMod val="75000"/>
                <a:lumOff val="25000"/>
              </a:schemeClr>
            </a:solidFill>
          </a:endParaRPr>
        </a:p>
      </dgm:t>
    </dgm:pt>
    <dgm:pt modelId="{5999EFD8-465F-43A3-83F0-E2A474471C4E}" type="sibTrans" cxnId="{62CBEB19-2279-4EF3-A19A-00E4633312EA}">
      <dgm:prSet/>
      <dgm:spPr/>
      <dgm:t>
        <a:bodyPr/>
        <a:lstStyle/>
        <a:p>
          <a:endParaRPr lang="es-ES" sz="2000">
            <a:solidFill>
              <a:schemeClr val="tx1">
                <a:lumMod val="75000"/>
                <a:lumOff val="25000"/>
              </a:schemeClr>
            </a:solidFill>
          </a:endParaRPr>
        </a:p>
      </dgm:t>
    </dgm:pt>
    <dgm:pt modelId="{6A605917-8F49-43C6-8DFE-77B59E6E1755}">
      <dgm:prSet phldrT="[Texto]" custT="1"/>
      <dgm:spPr/>
      <dgm:t>
        <a:bodyPr/>
        <a:lstStyle/>
        <a:p>
          <a:r>
            <a:rPr lang="es-ES" sz="1600" b="1" dirty="0" smtClean="0"/>
            <a:t>Control ambiental a proveedores</a:t>
          </a:r>
        </a:p>
        <a:p>
          <a:r>
            <a:rPr lang="es-ES" sz="1600" dirty="0" smtClean="0">
              <a:sym typeface="Wingdings" pitchFamily="2" charset="2"/>
            </a:rPr>
            <a:t> necesidad de desarrollo de auditorías y control  </a:t>
          </a:r>
          <a:endParaRPr lang="es-ES" sz="1600" dirty="0" smtClean="0"/>
        </a:p>
      </dgm:t>
    </dgm:pt>
    <dgm:pt modelId="{E5B181D6-E974-418C-91FF-CA69C188980E}" type="parTrans" cxnId="{81DF5D6E-EEBC-4C58-A5E1-348542E5DB9B}">
      <dgm:prSet/>
      <dgm:spPr/>
      <dgm:t>
        <a:bodyPr/>
        <a:lstStyle/>
        <a:p>
          <a:endParaRPr lang="es-ES" sz="2000">
            <a:solidFill>
              <a:schemeClr val="tx1">
                <a:lumMod val="75000"/>
                <a:lumOff val="25000"/>
              </a:schemeClr>
            </a:solidFill>
          </a:endParaRPr>
        </a:p>
      </dgm:t>
    </dgm:pt>
    <dgm:pt modelId="{61FD7E68-CED7-4187-BDFF-E6714A2D05E0}" type="sibTrans" cxnId="{81DF5D6E-EEBC-4C58-A5E1-348542E5DB9B}">
      <dgm:prSet/>
      <dgm:spPr/>
      <dgm:t>
        <a:bodyPr/>
        <a:lstStyle/>
        <a:p>
          <a:endParaRPr lang="es-ES" sz="2000">
            <a:solidFill>
              <a:schemeClr val="tx1">
                <a:lumMod val="75000"/>
                <a:lumOff val="25000"/>
              </a:schemeClr>
            </a:solidFill>
          </a:endParaRPr>
        </a:p>
      </dgm:t>
    </dgm:pt>
    <dgm:pt modelId="{A4780A59-82E7-4398-AC00-B1BADF0EAC90}" type="pres">
      <dgm:prSet presAssocID="{C2C0D02F-87A0-48C1-A0C4-7907B45A0638}" presName="Name0" presStyleCnt="0">
        <dgm:presLayoutVars>
          <dgm:chMax val="7"/>
          <dgm:chPref val="7"/>
          <dgm:dir/>
        </dgm:presLayoutVars>
      </dgm:prSet>
      <dgm:spPr/>
      <dgm:t>
        <a:bodyPr/>
        <a:lstStyle/>
        <a:p>
          <a:endParaRPr lang="es-ES"/>
        </a:p>
      </dgm:t>
    </dgm:pt>
    <dgm:pt modelId="{F741F918-33C4-4521-A454-4EDDF14D859B}" type="pres">
      <dgm:prSet presAssocID="{C2C0D02F-87A0-48C1-A0C4-7907B45A0638}" presName="Name1" presStyleCnt="0"/>
      <dgm:spPr/>
      <dgm:t>
        <a:bodyPr/>
        <a:lstStyle/>
        <a:p>
          <a:endParaRPr lang="es-ES"/>
        </a:p>
      </dgm:t>
    </dgm:pt>
    <dgm:pt modelId="{D771399F-A688-4720-9659-062DD7FB7067}" type="pres">
      <dgm:prSet presAssocID="{C2C0D02F-87A0-48C1-A0C4-7907B45A0638}" presName="cycle" presStyleCnt="0"/>
      <dgm:spPr/>
      <dgm:t>
        <a:bodyPr/>
        <a:lstStyle/>
        <a:p>
          <a:endParaRPr lang="es-ES"/>
        </a:p>
      </dgm:t>
    </dgm:pt>
    <dgm:pt modelId="{0AC4D3B5-8941-470D-9E68-7012C7D45F80}" type="pres">
      <dgm:prSet presAssocID="{C2C0D02F-87A0-48C1-A0C4-7907B45A0638}" presName="srcNode" presStyleLbl="node1" presStyleIdx="0" presStyleCnt="5"/>
      <dgm:spPr/>
      <dgm:t>
        <a:bodyPr/>
        <a:lstStyle/>
        <a:p>
          <a:endParaRPr lang="es-ES"/>
        </a:p>
      </dgm:t>
    </dgm:pt>
    <dgm:pt modelId="{1FC8B96C-A01F-419C-BD97-4B358BDD642A}" type="pres">
      <dgm:prSet presAssocID="{C2C0D02F-87A0-48C1-A0C4-7907B45A0638}" presName="conn" presStyleLbl="parChTrans1D2" presStyleIdx="0" presStyleCnt="1"/>
      <dgm:spPr/>
      <dgm:t>
        <a:bodyPr/>
        <a:lstStyle/>
        <a:p>
          <a:endParaRPr lang="es-ES"/>
        </a:p>
      </dgm:t>
    </dgm:pt>
    <dgm:pt modelId="{DDD9584D-BABC-4409-9B7C-B7BB297A6754}" type="pres">
      <dgm:prSet presAssocID="{C2C0D02F-87A0-48C1-A0C4-7907B45A0638}" presName="extraNode" presStyleLbl="node1" presStyleIdx="0" presStyleCnt="5"/>
      <dgm:spPr/>
      <dgm:t>
        <a:bodyPr/>
        <a:lstStyle/>
        <a:p>
          <a:endParaRPr lang="es-ES"/>
        </a:p>
      </dgm:t>
    </dgm:pt>
    <dgm:pt modelId="{3307A752-9C09-473D-B72A-D1EB1B1ADBE9}" type="pres">
      <dgm:prSet presAssocID="{C2C0D02F-87A0-48C1-A0C4-7907B45A0638}" presName="dstNode" presStyleLbl="node1" presStyleIdx="0" presStyleCnt="5"/>
      <dgm:spPr/>
      <dgm:t>
        <a:bodyPr/>
        <a:lstStyle/>
        <a:p>
          <a:endParaRPr lang="es-ES"/>
        </a:p>
      </dgm:t>
    </dgm:pt>
    <dgm:pt modelId="{60CF9AD2-0B0B-4EE2-894A-43B4DFDDAE11}" type="pres">
      <dgm:prSet presAssocID="{18ADF14D-97CB-4583-8B96-0B4085CB88BF}" presName="text_1" presStyleLbl="node1" presStyleIdx="0" presStyleCnt="5">
        <dgm:presLayoutVars>
          <dgm:bulletEnabled val="1"/>
        </dgm:presLayoutVars>
      </dgm:prSet>
      <dgm:spPr/>
      <dgm:t>
        <a:bodyPr/>
        <a:lstStyle/>
        <a:p>
          <a:endParaRPr lang="es-ES"/>
        </a:p>
      </dgm:t>
    </dgm:pt>
    <dgm:pt modelId="{EFF782D7-8255-4116-B266-B215FD69B170}" type="pres">
      <dgm:prSet presAssocID="{18ADF14D-97CB-4583-8B96-0B4085CB88BF}" presName="accent_1" presStyleCnt="0"/>
      <dgm:spPr/>
      <dgm:t>
        <a:bodyPr/>
        <a:lstStyle/>
        <a:p>
          <a:endParaRPr lang="es-ES"/>
        </a:p>
      </dgm:t>
    </dgm:pt>
    <dgm:pt modelId="{96A6C1F7-568B-43AE-89D0-84330A0D7BE9}" type="pres">
      <dgm:prSet presAssocID="{18ADF14D-97CB-4583-8B96-0B4085CB88BF}" presName="accentRepeatNode" presStyleLbl="solidFgAcc1" presStyleIdx="0" presStyleCnt="5"/>
      <dgm:spPr/>
      <dgm:t>
        <a:bodyPr/>
        <a:lstStyle/>
        <a:p>
          <a:endParaRPr lang="es-ES"/>
        </a:p>
      </dgm:t>
    </dgm:pt>
    <dgm:pt modelId="{535B1DB3-74C4-45AF-AF6B-301E03D3457D}" type="pres">
      <dgm:prSet presAssocID="{CE1D133D-0516-4011-9EE0-BDC933F26BCD}" presName="text_2" presStyleLbl="node1" presStyleIdx="1" presStyleCnt="5">
        <dgm:presLayoutVars>
          <dgm:bulletEnabled val="1"/>
        </dgm:presLayoutVars>
      </dgm:prSet>
      <dgm:spPr/>
      <dgm:t>
        <a:bodyPr/>
        <a:lstStyle/>
        <a:p>
          <a:endParaRPr lang="es-ES"/>
        </a:p>
      </dgm:t>
    </dgm:pt>
    <dgm:pt modelId="{155CFAFB-F434-410B-8618-F4065FB10FE0}" type="pres">
      <dgm:prSet presAssocID="{CE1D133D-0516-4011-9EE0-BDC933F26BCD}" presName="accent_2" presStyleCnt="0"/>
      <dgm:spPr/>
      <dgm:t>
        <a:bodyPr/>
        <a:lstStyle/>
        <a:p>
          <a:endParaRPr lang="es-ES"/>
        </a:p>
      </dgm:t>
    </dgm:pt>
    <dgm:pt modelId="{6DE9C9BB-5E39-469B-B1A5-BA16644E5582}" type="pres">
      <dgm:prSet presAssocID="{CE1D133D-0516-4011-9EE0-BDC933F26BCD}" presName="accentRepeatNode" presStyleLbl="solidFgAcc1" presStyleIdx="1" presStyleCnt="5"/>
      <dgm:spPr/>
      <dgm:t>
        <a:bodyPr/>
        <a:lstStyle/>
        <a:p>
          <a:endParaRPr lang="es-ES"/>
        </a:p>
      </dgm:t>
    </dgm:pt>
    <dgm:pt modelId="{4A4FBFD6-D39C-4D62-9B5F-9F86115077BE}" type="pres">
      <dgm:prSet presAssocID="{42C21F58-7886-4613-9D4C-49587D10BD50}" presName="text_3" presStyleLbl="node1" presStyleIdx="2" presStyleCnt="5">
        <dgm:presLayoutVars>
          <dgm:bulletEnabled val="1"/>
        </dgm:presLayoutVars>
      </dgm:prSet>
      <dgm:spPr/>
      <dgm:t>
        <a:bodyPr/>
        <a:lstStyle/>
        <a:p>
          <a:endParaRPr lang="es-ES"/>
        </a:p>
      </dgm:t>
    </dgm:pt>
    <dgm:pt modelId="{3979930F-F18D-43AF-8F49-5381ADDC6035}" type="pres">
      <dgm:prSet presAssocID="{42C21F58-7886-4613-9D4C-49587D10BD50}" presName="accent_3" presStyleCnt="0"/>
      <dgm:spPr/>
      <dgm:t>
        <a:bodyPr/>
        <a:lstStyle/>
        <a:p>
          <a:endParaRPr lang="es-ES"/>
        </a:p>
      </dgm:t>
    </dgm:pt>
    <dgm:pt modelId="{F9F16DC5-C91D-43D3-8B6B-C25E78C6CD38}" type="pres">
      <dgm:prSet presAssocID="{42C21F58-7886-4613-9D4C-49587D10BD50}" presName="accentRepeatNode" presStyleLbl="solidFgAcc1" presStyleIdx="2" presStyleCnt="5"/>
      <dgm:spPr/>
      <dgm:t>
        <a:bodyPr/>
        <a:lstStyle/>
        <a:p>
          <a:endParaRPr lang="es-ES"/>
        </a:p>
      </dgm:t>
    </dgm:pt>
    <dgm:pt modelId="{8D6A027F-BD3E-4E37-B7DF-BD933CDF933E}" type="pres">
      <dgm:prSet presAssocID="{9FD0E47B-6790-47ED-8AB2-DFB56B86FE15}" presName="text_4" presStyleLbl="node1" presStyleIdx="3" presStyleCnt="5">
        <dgm:presLayoutVars>
          <dgm:bulletEnabled val="1"/>
        </dgm:presLayoutVars>
      </dgm:prSet>
      <dgm:spPr/>
      <dgm:t>
        <a:bodyPr/>
        <a:lstStyle/>
        <a:p>
          <a:endParaRPr lang="es-ES"/>
        </a:p>
      </dgm:t>
    </dgm:pt>
    <dgm:pt modelId="{697340E7-E41D-41BF-ACF0-0B1B3C5AA1AD}" type="pres">
      <dgm:prSet presAssocID="{9FD0E47B-6790-47ED-8AB2-DFB56B86FE15}" presName="accent_4" presStyleCnt="0"/>
      <dgm:spPr/>
      <dgm:t>
        <a:bodyPr/>
        <a:lstStyle/>
        <a:p>
          <a:endParaRPr lang="es-ES"/>
        </a:p>
      </dgm:t>
    </dgm:pt>
    <dgm:pt modelId="{092012A0-4C19-4A53-A7C1-16E681448E8F}" type="pres">
      <dgm:prSet presAssocID="{9FD0E47B-6790-47ED-8AB2-DFB56B86FE15}" presName="accentRepeatNode" presStyleLbl="solidFgAcc1" presStyleIdx="3" presStyleCnt="5"/>
      <dgm:spPr/>
      <dgm:t>
        <a:bodyPr/>
        <a:lstStyle/>
        <a:p>
          <a:endParaRPr lang="es-ES"/>
        </a:p>
      </dgm:t>
    </dgm:pt>
    <dgm:pt modelId="{8A0E0F1F-77B9-4BAD-BBA5-7B6A5AA97706}" type="pres">
      <dgm:prSet presAssocID="{6A605917-8F49-43C6-8DFE-77B59E6E1755}" presName="text_5" presStyleLbl="node1" presStyleIdx="4" presStyleCnt="5" custLinFactNeighborX="-41" custLinFactNeighborY="-3397">
        <dgm:presLayoutVars>
          <dgm:bulletEnabled val="1"/>
        </dgm:presLayoutVars>
      </dgm:prSet>
      <dgm:spPr/>
      <dgm:t>
        <a:bodyPr/>
        <a:lstStyle/>
        <a:p>
          <a:endParaRPr lang="es-ES"/>
        </a:p>
      </dgm:t>
    </dgm:pt>
    <dgm:pt modelId="{F28A353A-C505-4416-96CE-33C015D2DB34}" type="pres">
      <dgm:prSet presAssocID="{6A605917-8F49-43C6-8DFE-77B59E6E1755}" presName="accent_5" presStyleCnt="0"/>
      <dgm:spPr/>
      <dgm:t>
        <a:bodyPr/>
        <a:lstStyle/>
        <a:p>
          <a:endParaRPr lang="es-ES"/>
        </a:p>
      </dgm:t>
    </dgm:pt>
    <dgm:pt modelId="{E8F45776-28BA-42F6-9E1A-AA195FABD180}" type="pres">
      <dgm:prSet presAssocID="{6A605917-8F49-43C6-8DFE-77B59E6E1755}" presName="accentRepeatNode" presStyleLbl="solidFgAcc1" presStyleIdx="4" presStyleCnt="5"/>
      <dgm:spPr/>
      <dgm:t>
        <a:bodyPr/>
        <a:lstStyle/>
        <a:p>
          <a:endParaRPr lang="es-ES"/>
        </a:p>
      </dgm:t>
    </dgm:pt>
  </dgm:ptLst>
  <dgm:cxnLst>
    <dgm:cxn modelId="{211BFD42-D4F4-4DDF-B54C-BE2F7C512011}" srcId="{C2C0D02F-87A0-48C1-A0C4-7907B45A0638}" destId="{42C21F58-7886-4613-9D4C-49587D10BD50}" srcOrd="2" destOrd="0" parTransId="{188DF120-8B11-4775-91B1-7F19A820EF52}" sibTransId="{89A1B456-2849-4FE9-9E29-A7EC4A5268C2}"/>
    <dgm:cxn modelId="{62CBEB19-2279-4EF3-A19A-00E4633312EA}" srcId="{C2C0D02F-87A0-48C1-A0C4-7907B45A0638}" destId="{9FD0E47B-6790-47ED-8AB2-DFB56B86FE15}" srcOrd="3" destOrd="0" parTransId="{E53B8CB4-BE7D-4FD7-BFF6-6649D475BABB}" sibTransId="{5999EFD8-465F-43A3-83F0-E2A474471C4E}"/>
    <dgm:cxn modelId="{BD2FFC55-24DD-47FD-B830-AA5232C46426}" type="presOf" srcId="{18ADF14D-97CB-4583-8B96-0B4085CB88BF}" destId="{60CF9AD2-0B0B-4EE2-894A-43B4DFDDAE11}" srcOrd="0" destOrd="0" presId="urn:microsoft.com/office/officeart/2008/layout/VerticalCurvedList"/>
    <dgm:cxn modelId="{7A17D703-A352-43EE-856C-905B395CCF7D}" type="presOf" srcId="{E8E9CB3C-FD11-46FB-879E-71E6A75F4861}" destId="{1FC8B96C-A01F-419C-BD97-4B358BDD642A}" srcOrd="0" destOrd="0" presId="urn:microsoft.com/office/officeart/2008/layout/VerticalCurvedList"/>
    <dgm:cxn modelId="{86F9316F-3001-4D33-8245-3EB09FBDA537}" type="presOf" srcId="{6A605917-8F49-43C6-8DFE-77B59E6E1755}" destId="{8A0E0F1F-77B9-4BAD-BBA5-7B6A5AA97706}" srcOrd="0" destOrd="0" presId="urn:microsoft.com/office/officeart/2008/layout/VerticalCurvedList"/>
    <dgm:cxn modelId="{D7D72CF1-B564-487B-835C-A442FE2C6605}" type="presOf" srcId="{9FD0E47B-6790-47ED-8AB2-DFB56B86FE15}" destId="{8D6A027F-BD3E-4E37-B7DF-BD933CDF933E}" srcOrd="0" destOrd="0" presId="urn:microsoft.com/office/officeart/2008/layout/VerticalCurvedList"/>
    <dgm:cxn modelId="{227C2B68-4EA7-42EA-8125-DC25A56C389E}" srcId="{C2C0D02F-87A0-48C1-A0C4-7907B45A0638}" destId="{18ADF14D-97CB-4583-8B96-0B4085CB88BF}" srcOrd="0" destOrd="0" parTransId="{72F1CBB6-2035-4BB4-B789-9419DB60CD7C}" sibTransId="{E8E9CB3C-FD11-46FB-879E-71E6A75F4861}"/>
    <dgm:cxn modelId="{7AD200CF-7130-4512-9B4C-B002BA47064A}" type="presOf" srcId="{42C21F58-7886-4613-9D4C-49587D10BD50}" destId="{4A4FBFD6-D39C-4D62-9B5F-9F86115077BE}" srcOrd="0" destOrd="0" presId="urn:microsoft.com/office/officeart/2008/layout/VerticalCurvedList"/>
    <dgm:cxn modelId="{18EFA3A0-8EC1-4669-B54F-2C1FD39ED342}" type="presOf" srcId="{C2C0D02F-87A0-48C1-A0C4-7907B45A0638}" destId="{A4780A59-82E7-4398-AC00-B1BADF0EAC90}" srcOrd="0" destOrd="0" presId="urn:microsoft.com/office/officeart/2008/layout/VerticalCurvedList"/>
    <dgm:cxn modelId="{97647BBF-6CE6-4DB3-9D5B-027F67D614E7}" type="presOf" srcId="{CE1D133D-0516-4011-9EE0-BDC933F26BCD}" destId="{535B1DB3-74C4-45AF-AF6B-301E03D3457D}" srcOrd="0" destOrd="0" presId="urn:microsoft.com/office/officeart/2008/layout/VerticalCurvedList"/>
    <dgm:cxn modelId="{2E3BE297-61BA-41A5-B6F3-0279C9D1193C}" srcId="{C2C0D02F-87A0-48C1-A0C4-7907B45A0638}" destId="{CE1D133D-0516-4011-9EE0-BDC933F26BCD}" srcOrd="1" destOrd="0" parTransId="{5C40119B-EB28-4B59-A2E3-A251A89D1851}" sibTransId="{87E3BAE4-2FC5-43AA-B283-72A8FF60BA83}"/>
    <dgm:cxn modelId="{81DF5D6E-EEBC-4C58-A5E1-348542E5DB9B}" srcId="{C2C0D02F-87A0-48C1-A0C4-7907B45A0638}" destId="{6A605917-8F49-43C6-8DFE-77B59E6E1755}" srcOrd="4" destOrd="0" parTransId="{E5B181D6-E974-418C-91FF-CA69C188980E}" sibTransId="{61FD7E68-CED7-4187-BDFF-E6714A2D05E0}"/>
    <dgm:cxn modelId="{6C0D2230-863C-4C75-A65C-CB27EEA85E70}" type="presParOf" srcId="{A4780A59-82E7-4398-AC00-B1BADF0EAC90}" destId="{F741F918-33C4-4521-A454-4EDDF14D859B}" srcOrd="0" destOrd="0" presId="urn:microsoft.com/office/officeart/2008/layout/VerticalCurvedList"/>
    <dgm:cxn modelId="{D377A352-0A7F-4945-89B0-53C4AC938F9A}" type="presParOf" srcId="{F741F918-33C4-4521-A454-4EDDF14D859B}" destId="{D771399F-A688-4720-9659-062DD7FB7067}" srcOrd="0" destOrd="0" presId="urn:microsoft.com/office/officeart/2008/layout/VerticalCurvedList"/>
    <dgm:cxn modelId="{1AD75841-46CF-4609-AC4A-805D37F2F84D}" type="presParOf" srcId="{D771399F-A688-4720-9659-062DD7FB7067}" destId="{0AC4D3B5-8941-470D-9E68-7012C7D45F80}" srcOrd="0" destOrd="0" presId="urn:microsoft.com/office/officeart/2008/layout/VerticalCurvedList"/>
    <dgm:cxn modelId="{2C5E06B3-727F-4E5A-AA4B-BA05FA216E40}" type="presParOf" srcId="{D771399F-A688-4720-9659-062DD7FB7067}" destId="{1FC8B96C-A01F-419C-BD97-4B358BDD642A}" srcOrd="1" destOrd="0" presId="urn:microsoft.com/office/officeart/2008/layout/VerticalCurvedList"/>
    <dgm:cxn modelId="{19F612F5-F41E-46DD-8C77-32B077F38815}" type="presParOf" srcId="{D771399F-A688-4720-9659-062DD7FB7067}" destId="{DDD9584D-BABC-4409-9B7C-B7BB297A6754}" srcOrd="2" destOrd="0" presId="urn:microsoft.com/office/officeart/2008/layout/VerticalCurvedList"/>
    <dgm:cxn modelId="{0E7E2904-C194-4A12-84F8-B8BA6C7F3DCE}" type="presParOf" srcId="{D771399F-A688-4720-9659-062DD7FB7067}" destId="{3307A752-9C09-473D-B72A-D1EB1B1ADBE9}" srcOrd="3" destOrd="0" presId="urn:microsoft.com/office/officeart/2008/layout/VerticalCurvedList"/>
    <dgm:cxn modelId="{C9771163-1030-47DD-9499-905C942168F0}" type="presParOf" srcId="{F741F918-33C4-4521-A454-4EDDF14D859B}" destId="{60CF9AD2-0B0B-4EE2-894A-43B4DFDDAE11}" srcOrd="1" destOrd="0" presId="urn:microsoft.com/office/officeart/2008/layout/VerticalCurvedList"/>
    <dgm:cxn modelId="{EC61E3D4-7B33-45E8-B2B3-D80E52A19F39}" type="presParOf" srcId="{F741F918-33C4-4521-A454-4EDDF14D859B}" destId="{EFF782D7-8255-4116-B266-B215FD69B170}" srcOrd="2" destOrd="0" presId="urn:microsoft.com/office/officeart/2008/layout/VerticalCurvedList"/>
    <dgm:cxn modelId="{62D87350-511A-42B1-8370-2C0BBDCB9A72}" type="presParOf" srcId="{EFF782D7-8255-4116-B266-B215FD69B170}" destId="{96A6C1F7-568B-43AE-89D0-84330A0D7BE9}" srcOrd="0" destOrd="0" presId="urn:microsoft.com/office/officeart/2008/layout/VerticalCurvedList"/>
    <dgm:cxn modelId="{A97BA820-600F-4733-894B-5BFC2F8F325F}" type="presParOf" srcId="{F741F918-33C4-4521-A454-4EDDF14D859B}" destId="{535B1DB3-74C4-45AF-AF6B-301E03D3457D}" srcOrd="3" destOrd="0" presId="urn:microsoft.com/office/officeart/2008/layout/VerticalCurvedList"/>
    <dgm:cxn modelId="{0D0EAA08-5275-4DD7-BC27-6EF4C08B586E}" type="presParOf" srcId="{F741F918-33C4-4521-A454-4EDDF14D859B}" destId="{155CFAFB-F434-410B-8618-F4065FB10FE0}" srcOrd="4" destOrd="0" presId="urn:microsoft.com/office/officeart/2008/layout/VerticalCurvedList"/>
    <dgm:cxn modelId="{A5138527-CC04-4FE5-AF80-5379C2AE9169}" type="presParOf" srcId="{155CFAFB-F434-410B-8618-F4065FB10FE0}" destId="{6DE9C9BB-5E39-469B-B1A5-BA16644E5582}" srcOrd="0" destOrd="0" presId="urn:microsoft.com/office/officeart/2008/layout/VerticalCurvedList"/>
    <dgm:cxn modelId="{5038CB95-0A60-412C-96CD-03654EAA473B}" type="presParOf" srcId="{F741F918-33C4-4521-A454-4EDDF14D859B}" destId="{4A4FBFD6-D39C-4D62-9B5F-9F86115077BE}" srcOrd="5" destOrd="0" presId="urn:microsoft.com/office/officeart/2008/layout/VerticalCurvedList"/>
    <dgm:cxn modelId="{F85BEA8D-6990-48BD-AD6B-C98269F00FF6}" type="presParOf" srcId="{F741F918-33C4-4521-A454-4EDDF14D859B}" destId="{3979930F-F18D-43AF-8F49-5381ADDC6035}" srcOrd="6" destOrd="0" presId="urn:microsoft.com/office/officeart/2008/layout/VerticalCurvedList"/>
    <dgm:cxn modelId="{FB52DC74-8D84-4AC3-8984-B250677F8B5E}" type="presParOf" srcId="{3979930F-F18D-43AF-8F49-5381ADDC6035}" destId="{F9F16DC5-C91D-43D3-8B6B-C25E78C6CD38}" srcOrd="0" destOrd="0" presId="urn:microsoft.com/office/officeart/2008/layout/VerticalCurvedList"/>
    <dgm:cxn modelId="{8C6EDA38-E0C7-4B9F-8934-7191465C3817}" type="presParOf" srcId="{F741F918-33C4-4521-A454-4EDDF14D859B}" destId="{8D6A027F-BD3E-4E37-B7DF-BD933CDF933E}" srcOrd="7" destOrd="0" presId="urn:microsoft.com/office/officeart/2008/layout/VerticalCurvedList"/>
    <dgm:cxn modelId="{14740293-AEE8-43EA-8347-3B2F06EE26F7}" type="presParOf" srcId="{F741F918-33C4-4521-A454-4EDDF14D859B}" destId="{697340E7-E41D-41BF-ACF0-0B1B3C5AA1AD}" srcOrd="8" destOrd="0" presId="urn:microsoft.com/office/officeart/2008/layout/VerticalCurvedList"/>
    <dgm:cxn modelId="{90233ACE-DEB1-46F2-8B4A-303D2495A9CE}" type="presParOf" srcId="{697340E7-E41D-41BF-ACF0-0B1B3C5AA1AD}" destId="{092012A0-4C19-4A53-A7C1-16E681448E8F}" srcOrd="0" destOrd="0" presId="urn:microsoft.com/office/officeart/2008/layout/VerticalCurvedList"/>
    <dgm:cxn modelId="{739F4131-2278-4ED0-9CD8-14B4C2559016}" type="presParOf" srcId="{F741F918-33C4-4521-A454-4EDDF14D859B}" destId="{8A0E0F1F-77B9-4BAD-BBA5-7B6A5AA97706}" srcOrd="9" destOrd="0" presId="urn:microsoft.com/office/officeart/2008/layout/VerticalCurvedList"/>
    <dgm:cxn modelId="{817A0549-3CE8-4421-A04C-E41DC19644E6}" type="presParOf" srcId="{F741F918-33C4-4521-A454-4EDDF14D859B}" destId="{F28A353A-C505-4416-96CE-33C015D2DB34}" srcOrd="10" destOrd="0" presId="urn:microsoft.com/office/officeart/2008/layout/VerticalCurvedList"/>
    <dgm:cxn modelId="{693C0F5C-CF78-464F-9A4D-92ED8C443A7B}" type="presParOf" srcId="{F28A353A-C505-4416-96CE-33C015D2DB34}" destId="{E8F45776-28BA-42F6-9E1A-AA195FABD18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506AB2-099F-4887-9E26-94FFACCD634F}">
      <dsp:nvSpPr>
        <dsp:cNvPr id="0" name=""/>
        <dsp:cNvSpPr/>
      </dsp:nvSpPr>
      <dsp:spPr>
        <a:xfrm>
          <a:off x="0" y="0"/>
          <a:ext cx="6096000" cy="1781863"/>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8B7A5E5-E3CE-44D4-9B1A-46F92624632A}">
      <dsp:nvSpPr>
        <dsp:cNvPr id="0" name=""/>
        <dsp:cNvSpPr/>
      </dsp:nvSpPr>
      <dsp:spPr>
        <a:xfrm>
          <a:off x="182879" y="237581"/>
          <a:ext cx="1790700" cy="1306699"/>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BEB1389-8692-48D7-8BD0-42BFFCDDB6FD}">
      <dsp:nvSpPr>
        <dsp:cNvPr id="0" name=""/>
        <dsp:cNvSpPr/>
      </dsp:nvSpPr>
      <dsp:spPr>
        <a:xfrm rot="10800000">
          <a:off x="182879" y="1781863"/>
          <a:ext cx="1790700" cy="2177832"/>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es-ES" sz="1400" b="1" kern="1200" dirty="0" smtClean="0">
              <a:solidFill>
                <a:schemeClr val="bg1"/>
              </a:solidFill>
            </a:rPr>
            <a:t>Operaciones </a:t>
          </a:r>
        </a:p>
        <a:p>
          <a:pPr lvl="0" algn="ctr" defTabSz="622300">
            <a:lnSpc>
              <a:spcPct val="90000"/>
            </a:lnSpc>
            <a:spcBef>
              <a:spcPct val="0"/>
            </a:spcBef>
            <a:spcAft>
              <a:spcPct val="35000"/>
            </a:spcAft>
          </a:pPr>
          <a:r>
            <a:rPr lang="es-ES" sz="1400" b="1" kern="1200" dirty="0" smtClean="0">
              <a:solidFill>
                <a:schemeClr val="bg1"/>
              </a:solidFill>
            </a:rPr>
            <a:t>Redes fijas y móviles</a:t>
          </a:r>
        </a:p>
        <a:p>
          <a:pPr marL="0" marR="0" lvl="0" indent="0" algn="l" defTabSz="914400" eaLnBrk="1" fontAlgn="auto" latinLnBrk="0" hangingPunct="1">
            <a:lnSpc>
              <a:spcPct val="100000"/>
            </a:lnSpc>
            <a:spcBef>
              <a:spcPct val="0"/>
            </a:spcBef>
            <a:spcAft>
              <a:spcPts val="0"/>
            </a:spcAft>
            <a:buClrTx/>
            <a:buSzTx/>
            <a:buFontTx/>
            <a:buNone/>
            <a:tabLst/>
            <a:defRPr/>
          </a:pPr>
          <a:r>
            <a:rPr lang="es-ES" sz="1400" kern="1200" dirty="0" smtClean="0">
              <a:solidFill>
                <a:schemeClr val="bg1"/>
              </a:solidFill>
            </a:rPr>
            <a:t>- -Equipos de conmutación, transmisión</a:t>
          </a:r>
        </a:p>
        <a:p>
          <a:pPr lvl="0" algn="l" defTabSz="622300">
            <a:lnSpc>
              <a:spcPct val="90000"/>
            </a:lnSpc>
            <a:spcBef>
              <a:spcPct val="0"/>
            </a:spcBef>
            <a:spcAft>
              <a:spcPct val="35000"/>
            </a:spcAft>
          </a:pPr>
          <a:r>
            <a:rPr lang="es-ES" sz="1400" kern="1200" dirty="0" smtClean="0">
              <a:solidFill>
                <a:schemeClr val="bg1"/>
              </a:solidFill>
            </a:rPr>
            <a:t>- Antenas </a:t>
          </a:r>
        </a:p>
        <a:p>
          <a:pPr lvl="0" algn="l" defTabSz="622300">
            <a:lnSpc>
              <a:spcPct val="90000"/>
            </a:lnSpc>
            <a:spcBef>
              <a:spcPct val="0"/>
            </a:spcBef>
            <a:spcAft>
              <a:spcPct val="35000"/>
            </a:spcAft>
          </a:pPr>
          <a:r>
            <a:rPr lang="es-ES" sz="1400" kern="1200" dirty="0" smtClean="0">
              <a:solidFill>
                <a:schemeClr val="bg1"/>
              </a:solidFill>
            </a:rPr>
            <a:t>- Equipos de RF…</a:t>
          </a:r>
        </a:p>
      </dsp:txBody>
      <dsp:txXfrm rot="10800000">
        <a:off x="237949" y="1781863"/>
        <a:ext cx="1680560" cy="2122762"/>
      </dsp:txXfrm>
    </dsp:sp>
    <dsp:sp modelId="{E1B4FCCD-3587-4B6E-BAF2-F835480024B4}">
      <dsp:nvSpPr>
        <dsp:cNvPr id="0" name=""/>
        <dsp:cNvSpPr/>
      </dsp:nvSpPr>
      <dsp:spPr>
        <a:xfrm>
          <a:off x="2152650" y="237581"/>
          <a:ext cx="1790700" cy="1306699"/>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4000" r="-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B7186D4-4F1E-4095-BE40-68FFC90A6655}">
      <dsp:nvSpPr>
        <dsp:cNvPr id="0" name=""/>
        <dsp:cNvSpPr/>
      </dsp:nvSpPr>
      <dsp:spPr>
        <a:xfrm rot="10800000">
          <a:off x="2152650" y="1781863"/>
          <a:ext cx="1790700" cy="2177832"/>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es-ES" sz="1400" b="1" kern="1200" dirty="0" smtClean="0">
              <a:solidFill>
                <a:schemeClr val="bg1"/>
              </a:solidFill>
            </a:rPr>
            <a:t>Oficinas y Logística</a:t>
          </a:r>
        </a:p>
        <a:p>
          <a:pPr lvl="0" algn="l" defTabSz="622300">
            <a:lnSpc>
              <a:spcPct val="90000"/>
            </a:lnSpc>
            <a:spcBef>
              <a:spcPct val="0"/>
            </a:spcBef>
            <a:spcAft>
              <a:spcPct val="35000"/>
            </a:spcAft>
          </a:pPr>
          <a:r>
            <a:rPr lang="es-ES" sz="1400" kern="1200" dirty="0" smtClean="0">
              <a:solidFill>
                <a:schemeClr val="bg1"/>
              </a:solidFill>
            </a:rPr>
            <a:t>- Ordenadores</a:t>
          </a:r>
        </a:p>
        <a:p>
          <a:pPr lvl="0" algn="l" defTabSz="622300">
            <a:lnSpc>
              <a:spcPct val="90000"/>
            </a:lnSpc>
            <a:spcBef>
              <a:spcPct val="0"/>
            </a:spcBef>
            <a:spcAft>
              <a:spcPct val="35000"/>
            </a:spcAft>
          </a:pPr>
          <a:r>
            <a:rPr lang="es-ES" sz="1400" kern="1200" dirty="0" smtClean="0">
              <a:solidFill>
                <a:schemeClr val="bg1"/>
              </a:solidFill>
            </a:rPr>
            <a:t>- Teléfonos</a:t>
          </a:r>
        </a:p>
        <a:p>
          <a:pPr lvl="0" algn="l" defTabSz="622300">
            <a:lnSpc>
              <a:spcPct val="90000"/>
            </a:lnSpc>
            <a:spcBef>
              <a:spcPct val="0"/>
            </a:spcBef>
            <a:spcAft>
              <a:spcPct val="35000"/>
            </a:spcAft>
          </a:pPr>
          <a:r>
            <a:rPr lang="es-ES" sz="1400" kern="1200" dirty="0" smtClean="0">
              <a:solidFill>
                <a:schemeClr val="bg1"/>
              </a:solidFill>
            </a:rPr>
            <a:t>- Equipos obsoletos</a:t>
          </a:r>
        </a:p>
        <a:p>
          <a:pPr lvl="0" algn="l" defTabSz="622300">
            <a:lnSpc>
              <a:spcPct val="90000"/>
            </a:lnSpc>
            <a:spcBef>
              <a:spcPct val="0"/>
            </a:spcBef>
            <a:spcAft>
              <a:spcPct val="35000"/>
            </a:spcAft>
          </a:pPr>
          <a:r>
            <a:rPr lang="es-ES" sz="1400" kern="1200" dirty="0" smtClean="0">
              <a:solidFill>
                <a:schemeClr val="bg1"/>
              </a:solidFill>
            </a:rPr>
            <a:t>- …</a:t>
          </a:r>
        </a:p>
        <a:p>
          <a:pPr lvl="0" algn="l" defTabSz="622300">
            <a:lnSpc>
              <a:spcPct val="90000"/>
            </a:lnSpc>
            <a:spcBef>
              <a:spcPct val="0"/>
            </a:spcBef>
            <a:spcAft>
              <a:spcPct val="35000"/>
            </a:spcAft>
          </a:pPr>
          <a:endParaRPr lang="es-ES" sz="1400" kern="1200" dirty="0">
            <a:solidFill>
              <a:schemeClr val="bg1"/>
            </a:solidFill>
          </a:endParaRPr>
        </a:p>
      </dsp:txBody>
      <dsp:txXfrm rot="10800000">
        <a:off x="2207720" y="1781863"/>
        <a:ext cx="1680560" cy="2122762"/>
      </dsp:txXfrm>
    </dsp:sp>
    <dsp:sp modelId="{B4836C17-4CF0-4ED6-9D32-DA9BC96E3204}">
      <dsp:nvSpPr>
        <dsp:cNvPr id="0" name=""/>
        <dsp:cNvSpPr/>
      </dsp:nvSpPr>
      <dsp:spPr>
        <a:xfrm>
          <a:off x="4122420" y="237581"/>
          <a:ext cx="1790700" cy="1306699"/>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DB31DD-9158-4FFA-BA99-17E4C7700352}">
      <dsp:nvSpPr>
        <dsp:cNvPr id="0" name=""/>
        <dsp:cNvSpPr/>
      </dsp:nvSpPr>
      <dsp:spPr>
        <a:xfrm rot="10800000">
          <a:off x="4122420" y="1781863"/>
          <a:ext cx="1790700" cy="2177832"/>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es-ES" sz="1400" b="1" kern="1200" dirty="0" smtClean="0">
              <a:solidFill>
                <a:schemeClr val="bg1"/>
              </a:solidFill>
            </a:rPr>
            <a:t>Clientes residenciales y corporativos</a:t>
          </a:r>
        </a:p>
        <a:p>
          <a:pPr lvl="0" algn="l" defTabSz="622300">
            <a:lnSpc>
              <a:spcPct val="90000"/>
            </a:lnSpc>
            <a:spcBef>
              <a:spcPct val="0"/>
            </a:spcBef>
            <a:spcAft>
              <a:spcPct val="35000"/>
            </a:spcAft>
          </a:pPr>
          <a:r>
            <a:rPr lang="es-ES" sz="1400" kern="1200" dirty="0" smtClean="0">
              <a:solidFill>
                <a:schemeClr val="bg1"/>
              </a:solidFill>
            </a:rPr>
            <a:t>- Teléfonos</a:t>
          </a:r>
        </a:p>
        <a:p>
          <a:pPr lvl="0" algn="l" defTabSz="622300">
            <a:lnSpc>
              <a:spcPct val="90000"/>
            </a:lnSpc>
            <a:spcBef>
              <a:spcPct val="0"/>
            </a:spcBef>
            <a:spcAft>
              <a:spcPct val="35000"/>
            </a:spcAft>
          </a:pPr>
          <a:r>
            <a:rPr lang="es-ES" sz="1400" kern="1200" dirty="0" smtClean="0">
              <a:solidFill>
                <a:schemeClr val="bg1"/>
              </a:solidFill>
            </a:rPr>
            <a:t>- </a:t>
          </a:r>
          <a:r>
            <a:rPr lang="es-ES" sz="1400" kern="1200" dirty="0" err="1" smtClean="0">
              <a:solidFill>
                <a:schemeClr val="bg1"/>
              </a:solidFill>
            </a:rPr>
            <a:t>Routers</a:t>
          </a:r>
          <a:endParaRPr lang="es-ES" sz="1400" kern="1200" dirty="0" smtClean="0">
            <a:solidFill>
              <a:schemeClr val="bg1"/>
            </a:solidFill>
          </a:endParaRPr>
        </a:p>
        <a:p>
          <a:pPr lvl="0" algn="l" defTabSz="622300">
            <a:lnSpc>
              <a:spcPct val="90000"/>
            </a:lnSpc>
            <a:spcBef>
              <a:spcPct val="0"/>
            </a:spcBef>
            <a:spcAft>
              <a:spcPct val="35000"/>
            </a:spcAft>
          </a:pPr>
          <a:r>
            <a:rPr lang="es-ES" sz="1400" kern="1200" dirty="0" smtClean="0">
              <a:solidFill>
                <a:schemeClr val="bg1"/>
              </a:solidFill>
            </a:rPr>
            <a:t>- Centralitas</a:t>
          </a:r>
        </a:p>
        <a:p>
          <a:pPr lvl="0" algn="l" defTabSz="622300">
            <a:lnSpc>
              <a:spcPct val="90000"/>
            </a:lnSpc>
            <a:spcBef>
              <a:spcPct val="0"/>
            </a:spcBef>
            <a:spcAft>
              <a:spcPct val="35000"/>
            </a:spcAft>
          </a:pPr>
          <a:r>
            <a:rPr lang="es-ES" sz="1400" kern="1200" dirty="0" smtClean="0">
              <a:solidFill>
                <a:schemeClr val="bg1"/>
              </a:solidFill>
            </a:rPr>
            <a:t>- Ordenadores</a:t>
          </a:r>
        </a:p>
        <a:p>
          <a:pPr lvl="0" algn="l" defTabSz="622300">
            <a:lnSpc>
              <a:spcPct val="90000"/>
            </a:lnSpc>
            <a:spcBef>
              <a:spcPct val="0"/>
            </a:spcBef>
            <a:spcAft>
              <a:spcPct val="35000"/>
            </a:spcAft>
          </a:pPr>
          <a:r>
            <a:rPr lang="es-ES" sz="1400" kern="1200" dirty="0" smtClean="0">
              <a:solidFill>
                <a:schemeClr val="bg1"/>
              </a:solidFill>
            </a:rPr>
            <a:t>- …</a:t>
          </a:r>
          <a:endParaRPr lang="es-ES" sz="1400" kern="1200" dirty="0">
            <a:solidFill>
              <a:schemeClr val="bg1"/>
            </a:solidFill>
          </a:endParaRPr>
        </a:p>
      </dsp:txBody>
      <dsp:txXfrm rot="10800000">
        <a:off x="4177490" y="1781863"/>
        <a:ext cx="1680560" cy="21227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C8B96C-A01F-419C-BD97-4B358BDD642A}">
      <dsp:nvSpPr>
        <dsp:cNvPr id="0" name=""/>
        <dsp:cNvSpPr/>
      </dsp:nvSpPr>
      <dsp:spPr>
        <a:xfrm>
          <a:off x="-5372482" y="-822706"/>
          <a:ext cx="6397197" cy="6397197"/>
        </a:xfrm>
        <a:prstGeom prst="blockArc">
          <a:avLst>
            <a:gd name="adj1" fmla="val 18900000"/>
            <a:gd name="adj2" fmla="val 2700000"/>
            <a:gd name="adj3" fmla="val 338"/>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CF9AD2-0B0B-4EE2-894A-43B4DFDDAE11}">
      <dsp:nvSpPr>
        <dsp:cNvPr id="0" name=""/>
        <dsp:cNvSpPr/>
      </dsp:nvSpPr>
      <dsp:spPr>
        <a:xfrm>
          <a:off x="448093" y="296891"/>
          <a:ext cx="7406736" cy="59416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1617" tIns="40640" rIns="40640" bIns="40640" numCol="1" spcCol="1270" anchor="ctr" anchorCtr="0">
          <a:noAutofit/>
        </a:bodyPr>
        <a:lstStyle/>
        <a:p>
          <a:pPr lvl="0" algn="l" defTabSz="711200">
            <a:lnSpc>
              <a:spcPct val="90000"/>
            </a:lnSpc>
            <a:spcBef>
              <a:spcPct val="0"/>
            </a:spcBef>
            <a:spcAft>
              <a:spcPct val="35000"/>
            </a:spcAft>
          </a:pPr>
          <a:r>
            <a:rPr lang="es-ES" sz="1600" b="1" kern="1200" dirty="0" smtClean="0"/>
            <a:t>Legislación ambiental heterogénea en los distintos países</a:t>
          </a:r>
        </a:p>
        <a:p>
          <a:pPr lvl="0" algn="l" defTabSz="711200">
            <a:lnSpc>
              <a:spcPct val="90000"/>
            </a:lnSpc>
            <a:spcBef>
              <a:spcPct val="0"/>
            </a:spcBef>
            <a:spcAft>
              <a:spcPct val="35000"/>
            </a:spcAft>
          </a:pPr>
          <a:r>
            <a:rPr lang="es-ES" sz="1600" kern="1200" dirty="0" smtClean="0">
              <a:sym typeface="Wingdings" pitchFamily="2" charset="2"/>
            </a:rPr>
            <a:t> definir roles y responsabilidades (productor, distribuidor, consumidor)</a:t>
          </a:r>
          <a:endParaRPr lang="es-ES" sz="1600" kern="1200" dirty="0"/>
        </a:p>
      </dsp:txBody>
      <dsp:txXfrm>
        <a:off x="448093" y="296891"/>
        <a:ext cx="7406736" cy="594163"/>
      </dsp:txXfrm>
    </dsp:sp>
    <dsp:sp modelId="{96A6C1F7-568B-43AE-89D0-84330A0D7BE9}">
      <dsp:nvSpPr>
        <dsp:cNvPr id="0" name=""/>
        <dsp:cNvSpPr/>
      </dsp:nvSpPr>
      <dsp:spPr>
        <a:xfrm>
          <a:off x="76741" y="222621"/>
          <a:ext cx="742703" cy="742703"/>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5B1DB3-74C4-45AF-AF6B-301E03D3457D}">
      <dsp:nvSpPr>
        <dsp:cNvPr id="0" name=""/>
        <dsp:cNvSpPr/>
      </dsp:nvSpPr>
      <dsp:spPr>
        <a:xfrm>
          <a:off x="873853" y="1187850"/>
          <a:ext cx="6980977" cy="594163"/>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1617" tIns="40640" rIns="40640" bIns="40640" numCol="1" spcCol="1270" anchor="ctr" anchorCtr="0">
          <a:noAutofit/>
        </a:bodyPr>
        <a:lstStyle/>
        <a:p>
          <a:pPr lvl="0" algn="l" defTabSz="711200">
            <a:lnSpc>
              <a:spcPct val="90000"/>
            </a:lnSpc>
            <a:spcBef>
              <a:spcPct val="0"/>
            </a:spcBef>
            <a:spcAft>
              <a:spcPct val="35000"/>
            </a:spcAft>
          </a:pPr>
          <a:r>
            <a:rPr lang="es-ES" sz="1600" b="1" kern="1200" smtClean="0"/>
            <a:t>Falta de gestores de residuos calificados a nivel local </a:t>
          </a:r>
        </a:p>
        <a:p>
          <a:pPr lvl="0" algn="l" defTabSz="711200">
            <a:lnSpc>
              <a:spcPct val="90000"/>
            </a:lnSpc>
            <a:spcBef>
              <a:spcPct val="0"/>
            </a:spcBef>
            <a:spcAft>
              <a:spcPct val="35000"/>
            </a:spcAft>
          </a:pPr>
          <a:r>
            <a:rPr lang="es-ES" sz="1600" kern="1200" smtClean="0">
              <a:sym typeface="Wingdings" pitchFamily="2" charset="2"/>
            </a:rPr>
            <a:t> necesidad de alternativas de gestión</a:t>
          </a:r>
          <a:endParaRPr lang="es-ES" sz="1600" kern="1200" dirty="0"/>
        </a:p>
      </dsp:txBody>
      <dsp:txXfrm>
        <a:off x="873853" y="1187850"/>
        <a:ext cx="6980977" cy="594163"/>
      </dsp:txXfrm>
    </dsp:sp>
    <dsp:sp modelId="{6DE9C9BB-5E39-469B-B1A5-BA16644E5582}">
      <dsp:nvSpPr>
        <dsp:cNvPr id="0" name=""/>
        <dsp:cNvSpPr/>
      </dsp:nvSpPr>
      <dsp:spPr>
        <a:xfrm>
          <a:off x="502501" y="1113580"/>
          <a:ext cx="742703" cy="742703"/>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4FBFD6-D39C-4D62-9B5F-9F86115077BE}">
      <dsp:nvSpPr>
        <dsp:cNvPr id="0" name=""/>
        <dsp:cNvSpPr/>
      </dsp:nvSpPr>
      <dsp:spPr>
        <a:xfrm>
          <a:off x="1004527" y="2078810"/>
          <a:ext cx="6850303" cy="594163"/>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1617" tIns="40640" rIns="40640" bIns="40640" numCol="1" spcCol="1270" anchor="ctr" anchorCtr="0">
          <a:noAutofit/>
        </a:bodyPr>
        <a:lstStyle/>
        <a:p>
          <a:pPr lvl="0" algn="l" defTabSz="711200">
            <a:lnSpc>
              <a:spcPct val="90000"/>
            </a:lnSpc>
            <a:spcBef>
              <a:spcPct val="0"/>
            </a:spcBef>
            <a:spcAft>
              <a:spcPct val="35000"/>
            </a:spcAft>
          </a:pPr>
          <a:r>
            <a:rPr lang="es-ES" sz="1600" b="1" kern="1200" smtClean="0"/>
            <a:t>Costes de planes de gestión sostenibles y eco-eficientes</a:t>
          </a:r>
        </a:p>
        <a:p>
          <a:pPr lvl="0" algn="l" defTabSz="711200">
            <a:lnSpc>
              <a:spcPct val="90000"/>
            </a:lnSpc>
            <a:spcBef>
              <a:spcPct val="0"/>
            </a:spcBef>
            <a:spcAft>
              <a:spcPct val="35000"/>
            </a:spcAft>
          </a:pPr>
          <a:r>
            <a:rPr lang="es-ES" sz="1600" kern="1200" smtClean="0">
              <a:sym typeface="Wingdings" pitchFamily="2" charset="2"/>
            </a:rPr>
            <a:t> necesidad de reducir cargas financieras </a:t>
          </a:r>
          <a:endParaRPr lang="es-ES" sz="1600" kern="1200" dirty="0" smtClean="0"/>
        </a:p>
      </dsp:txBody>
      <dsp:txXfrm>
        <a:off x="1004527" y="2078810"/>
        <a:ext cx="6850303" cy="594163"/>
      </dsp:txXfrm>
    </dsp:sp>
    <dsp:sp modelId="{F9F16DC5-C91D-43D3-8B6B-C25E78C6CD38}">
      <dsp:nvSpPr>
        <dsp:cNvPr id="0" name=""/>
        <dsp:cNvSpPr/>
      </dsp:nvSpPr>
      <dsp:spPr>
        <a:xfrm>
          <a:off x="633175" y="2004540"/>
          <a:ext cx="742703" cy="742703"/>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6A027F-BD3E-4E37-B7DF-BD933CDF933E}">
      <dsp:nvSpPr>
        <dsp:cNvPr id="0" name=""/>
        <dsp:cNvSpPr/>
      </dsp:nvSpPr>
      <dsp:spPr>
        <a:xfrm>
          <a:off x="873853" y="2969769"/>
          <a:ext cx="6980977" cy="594163"/>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1617" tIns="40640" rIns="40640" bIns="40640" numCol="1" spcCol="1270" anchor="ctr" anchorCtr="0">
          <a:noAutofit/>
        </a:bodyPr>
        <a:lstStyle/>
        <a:p>
          <a:pPr lvl="0" algn="l" defTabSz="711200">
            <a:lnSpc>
              <a:spcPct val="90000"/>
            </a:lnSpc>
            <a:spcBef>
              <a:spcPct val="0"/>
            </a:spcBef>
            <a:spcAft>
              <a:spcPct val="35000"/>
            </a:spcAft>
          </a:pPr>
          <a:r>
            <a:rPr lang="es-ES" sz="1600" b="1" kern="1200" smtClean="0"/>
            <a:t>Requerimiento de almacenamiento temporal de residuos </a:t>
          </a:r>
        </a:p>
        <a:p>
          <a:pPr lvl="0" algn="l" defTabSz="711200">
            <a:lnSpc>
              <a:spcPct val="90000"/>
            </a:lnSpc>
            <a:spcBef>
              <a:spcPct val="0"/>
            </a:spcBef>
            <a:spcAft>
              <a:spcPct val="35000"/>
            </a:spcAft>
          </a:pPr>
          <a:r>
            <a:rPr lang="es-ES" sz="1600" kern="1200" smtClean="0">
              <a:sym typeface="Wingdings" pitchFamily="2" charset="2"/>
            </a:rPr>
            <a:t> necesidad de sistemas de logística coordinados</a:t>
          </a:r>
          <a:endParaRPr lang="es-ES" sz="1600" kern="1200" dirty="0" smtClean="0"/>
        </a:p>
      </dsp:txBody>
      <dsp:txXfrm>
        <a:off x="873853" y="2969769"/>
        <a:ext cx="6980977" cy="594163"/>
      </dsp:txXfrm>
    </dsp:sp>
    <dsp:sp modelId="{092012A0-4C19-4A53-A7C1-16E681448E8F}">
      <dsp:nvSpPr>
        <dsp:cNvPr id="0" name=""/>
        <dsp:cNvSpPr/>
      </dsp:nvSpPr>
      <dsp:spPr>
        <a:xfrm>
          <a:off x="502501" y="2895499"/>
          <a:ext cx="742703" cy="742703"/>
        </a:xfrm>
        <a:prstGeom prst="ellipse">
          <a:avLst/>
        </a:prstGeom>
        <a:solidFill>
          <a:schemeClr val="lt1">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0E0F1F-77B9-4BAD-BBA5-7B6A5AA97706}">
      <dsp:nvSpPr>
        <dsp:cNvPr id="0" name=""/>
        <dsp:cNvSpPr/>
      </dsp:nvSpPr>
      <dsp:spPr>
        <a:xfrm>
          <a:off x="445056" y="3840545"/>
          <a:ext cx="7406736" cy="594163"/>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1617" tIns="40640" rIns="40640" bIns="40640" numCol="1" spcCol="1270" anchor="ctr" anchorCtr="0">
          <a:noAutofit/>
        </a:bodyPr>
        <a:lstStyle/>
        <a:p>
          <a:pPr lvl="0" algn="l" defTabSz="711200">
            <a:lnSpc>
              <a:spcPct val="90000"/>
            </a:lnSpc>
            <a:spcBef>
              <a:spcPct val="0"/>
            </a:spcBef>
            <a:spcAft>
              <a:spcPct val="35000"/>
            </a:spcAft>
          </a:pPr>
          <a:r>
            <a:rPr lang="es-ES" sz="1600" b="1" kern="1200" dirty="0" smtClean="0"/>
            <a:t>Control ambiental a proveedores</a:t>
          </a:r>
        </a:p>
        <a:p>
          <a:pPr lvl="0" algn="l" defTabSz="711200">
            <a:lnSpc>
              <a:spcPct val="90000"/>
            </a:lnSpc>
            <a:spcBef>
              <a:spcPct val="0"/>
            </a:spcBef>
            <a:spcAft>
              <a:spcPct val="35000"/>
            </a:spcAft>
          </a:pPr>
          <a:r>
            <a:rPr lang="es-ES" sz="1600" kern="1200" dirty="0" smtClean="0">
              <a:sym typeface="Wingdings" pitchFamily="2" charset="2"/>
            </a:rPr>
            <a:t> necesidad de desarrollo de auditorías y control  </a:t>
          </a:r>
          <a:endParaRPr lang="es-ES" sz="1600" kern="1200" dirty="0" smtClean="0"/>
        </a:p>
      </dsp:txBody>
      <dsp:txXfrm>
        <a:off x="445056" y="3840545"/>
        <a:ext cx="7406736" cy="594163"/>
      </dsp:txXfrm>
    </dsp:sp>
    <dsp:sp modelId="{E8F45776-28BA-42F6-9E1A-AA195FABD180}">
      <dsp:nvSpPr>
        <dsp:cNvPr id="0" name=""/>
        <dsp:cNvSpPr/>
      </dsp:nvSpPr>
      <dsp:spPr>
        <a:xfrm>
          <a:off x="76741" y="3786459"/>
          <a:ext cx="742703" cy="742703"/>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5BD8503-F5A1-47DE-81B4-020935D2FEDD}" type="datetimeFigureOut">
              <a:rPr lang="en-US" smtClean="0"/>
              <a:t>12/03/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CEB951B-3A57-4B7B-9395-DA8935C9F482}" type="slidenum">
              <a:rPr lang="en-US" smtClean="0"/>
              <a:t>‹#›</a:t>
            </a:fld>
            <a:endParaRPr lang="en-US"/>
          </a:p>
        </p:txBody>
      </p:sp>
    </p:spTree>
    <p:extLst>
      <p:ext uri="{BB962C8B-B14F-4D97-AF65-F5344CB8AC3E}">
        <p14:creationId xmlns:p14="http://schemas.microsoft.com/office/powerpoint/2010/main" val="2274187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ES_tradnl" dirty="0" smtClean="0"/>
              <a:t>Acerca de Telefónica:</a:t>
            </a:r>
          </a:p>
          <a:p>
            <a:endParaRPr lang="es-ES_tradnl" dirty="0" smtClean="0"/>
          </a:p>
          <a:p>
            <a:r>
              <a:rPr lang="es-ES_tradnl" dirty="0" smtClean="0"/>
              <a:t>3 marcas comerciales:</a:t>
            </a:r>
            <a:r>
              <a:rPr lang="es-ES_tradnl" baseline="0" dirty="0" smtClean="0"/>
              <a:t> Vivo en Brasil. Movistar en España y </a:t>
            </a:r>
            <a:r>
              <a:rPr lang="es-ES_tradnl" baseline="0" dirty="0" err="1" smtClean="0"/>
              <a:t>Latam</a:t>
            </a:r>
            <a:r>
              <a:rPr lang="es-ES_tradnl" baseline="0" dirty="0" smtClean="0"/>
              <a:t>. O2 en Europa.</a:t>
            </a:r>
          </a:p>
          <a:p>
            <a:endParaRPr lang="es-ES_tradnl" dirty="0" smtClean="0"/>
          </a:p>
          <a:p>
            <a:r>
              <a:rPr lang="es-ES_tradnl" dirty="0" smtClean="0"/>
              <a:t>Una</a:t>
            </a:r>
            <a:r>
              <a:rPr lang="es-ES_tradnl" baseline="0" dirty="0" smtClean="0"/>
              <a:t> empresa que provee servicios integrados de Telecomunicaciones en 24 países, con más de 320 millones de clientes y 130.000 profesionales a Septiembre de 2013.</a:t>
            </a:r>
          </a:p>
          <a:p>
            <a:endParaRPr lang="es-ES_tradnl" baseline="0" dirty="0" smtClean="0"/>
          </a:p>
          <a:p>
            <a:r>
              <a:rPr lang="es-ES_tradnl" baseline="0" dirty="0" smtClean="0"/>
              <a:t>En 2012 pagamos alrededor de 715 millones de euros por la cuenta de electricidad y consumimos 5.8 </a:t>
            </a:r>
            <a:r>
              <a:rPr lang="es-ES_tradnl" baseline="0" dirty="0" err="1" smtClean="0"/>
              <a:t>TWh</a:t>
            </a:r>
            <a:r>
              <a:rPr lang="es-ES_tradnl" baseline="0" dirty="0" smtClean="0"/>
              <a:t> de energía emitiendo 1.7 millones de toneladas de CO2eq.</a:t>
            </a:r>
            <a:endParaRPr lang="es-ES" dirty="0"/>
          </a:p>
        </p:txBody>
      </p:sp>
      <p:sp>
        <p:nvSpPr>
          <p:cNvPr id="4" name="3 Marcador de número de diapositiva"/>
          <p:cNvSpPr>
            <a:spLocks noGrp="1"/>
          </p:cNvSpPr>
          <p:nvPr>
            <p:ph type="sldNum" sz="quarter" idx="10"/>
          </p:nvPr>
        </p:nvSpPr>
        <p:spPr/>
        <p:txBody>
          <a:bodyPr/>
          <a:lstStyle/>
          <a:p>
            <a:fld id="{BCEB951B-3A57-4B7B-9395-DA8935C9F482}" type="slidenum">
              <a:rPr lang="en-US" smtClean="0"/>
              <a:t>2</a:t>
            </a:fld>
            <a:endParaRPr lang="en-US"/>
          </a:p>
        </p:txBody>
      </p:sp>
    </p:spTree>
    <p:extLst>
      <p:ext uri="{BB962C8B-B14F-4D97-AF65-F5344CB8AC3E}">
        <p14:creationId xmlns:p14="http://schemas.microsoft.com/office/powerpoint/2010/main" val="3667116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882650" eaLnBrk="0" hangingPunct="0">
              <a:spcBef>
                <a:spcPct val="30000"/>
              </a:spcBef>
              <a:defRPr sz="1200">
                <a:solidFill>
                  <a:schemeClr val="tx1"/>
                </a:solidFill>
                <a:latin typeface="Calibri" pitchFamily="34" charset="0"/>
                <a:ea typeface="MS PGothic" pitchFamily="34" charset="-128"/>
              </a:defRPr>
            </a:lvl1pPr>
            <a:lvl2pPr marL="742950" indent="-285750" algn="l" defTabSz="882650" eaLnBrk="0" hangingPunct="0">
              <a:spcBef>
                <a:spcPct val="30000"/>
              </a:spcBef>
              <a:defRPr sz="1200">
                <a:solidFill>
                  <a:schemeClr val="tx1"/>
                </a:solidFill>
                <a:latin typeface="Calibri" pitchFamily="34" charset="0"/>
                <a:ea typeface="MS PGothic" pitchFamily="34" charset="-128"/>
              </a:defRPr>
            </a:lvl2pPr>
            <a:lvl3pPr marL="1143000" indent="-228600" algn="l" defTabSz="882650" eaLnBrk="0" hangingPunct="0">
              <a:spcBef>
                <a:spcPct val="30000"/>
              </a:spcBef>
              <a:defRPr sz="1200">
                <a:solidFill>
                  <a:schemeClr val="tx1"/>
                </a:solidFill>
                <a:latin typeface="Calibri" pitchFamily="34" charset="0"/>
                <a:ea typeface="MS PGothic" pitchFamily="34" charset="-128"/>
              </a:defRPr>
            </a:lvl3pPr>
            <a:lvl4pPr marL="1600200" indent="-228600" algn="l" defTabSz="882650" eaLnBrk="0" hangingPunct="0">
              <a:spcBef>
                <a:spcPct val="30000"/>
              </a:spcBef>
              <a:defRPr sz="1200">
                <a:solidFill>
                  <a:schemeClr val="tx1"/>
                </a:solidFill>
                <a:latin typeface="Calibri" pitchFamily="34" charset="0"/>
                <a:ea typeface="MS PGothic" pitchFamily="34" charset="-128"/>
              </a:defRPr>
            </a:lvl4pPr>
            <a:lvl5pPr marL="2057400" indent="-228600" algn="l" defTabSz="882650" eaLnBrk="0" hangingPunct="0">
              <a:spcBef>
                <a:spcPct val="30000"/>
              </a:spcBef>
              <a:defRPr sz="1200">
                <a:solidFill>
                  <a:schemeClr val="tx1"/>
                </a:solidFill>
                <a:latin typeface="Calibri" pitchFamily="34" charset="0"/>
                <a:ea typeface="MS PGothic" pitchFamily="34" charset="-128"/>
              </a:defRPr>
            </a:lvl5pPr>
            <a:lvl6pPr marL="2514600" indent="-228600" defTabSz="88265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defTabSz="88265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defTabSz="88265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defTabSz="88265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algn="r" eaLnBrk="1" hangingPunct="1">
              <a:spcBef>
                <a:spcPct val="0"/>
              </a:spcBef>
            </a:pPr>
            <a:fld id="{7FD4D38E-2A14-47C6-969B-D2CFDF18F283}" type="slidenum">
              <a:rPr lang="en-US" altLang="es-ES" sz="1100" smtClean="0">
                <a:latin typeface="TheSansCorrespondence" pitchFamily="34" charset="0"/>
              </a:rPr>
              <a:pPr algn="r" eaLnBrk="1" hangingPunct="1">
                <a:spcBef>
                  <a:spcPct val="0"/>
                </a:spcBef>
              </a:pPr>
              <a:t>3</a:t>
            </a:fld>
            <a:endParaRPr lang="en-US" altLang="es-ES" sz="1100" smtClean="0">
              <a:latin typeface="TheSansCorrespondence" pitchFamily="34" charset="0"/>
            </a:endParaRPr>
          </a:p>
        </p:txBody>
      </p:sp>
      <p:sp>
        <p:nvSpPr>
          <p:cNvPr id="21507" name="Rectangle 2"/>
          <p:cNvSpPr>
            <a:spLocks noGrp="1" noRot="1" noChangeAspect="1" noChangeArrowheads="1" noTextEdit="1"/>
          </p:cNvSpPr>
          <p:nvPr>
            <p:ph type="sldImg"/>
          </p:nvPr>
        </p:nvSpPr>
        <p:spPr bwMode="auto">
          <a:xfrm>
            <a:off x="1139825" y="684213"/>
            <a:ext cx="4575175"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8" name="Rectangle 3"/>
          <p:cNvSpPr>
            <a:spLocks noGrp="1" noChangeArrowheads="1"/>
          </p:cNvSpPr>
          <p:nvPr>
            <p:ph type="body" idx="1"/>
          </p:nvPr>
        </p:nvSpPr>
        <p:spPr bwMode="auto">
          <a:xfrm>
            <a:off x="683879" y="4342665"/>
            <a:ext cx="5490244" cy="411774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s-ES" altLang="es-E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1 Marcador de imagen de diapositiva"/>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VE" altLang="es-ES" smtClean="0"/>
              <a:t>Colocar Alcance del piloto (Gcia, Gral.)</a:t>
            </a:r>
          </a:p>
        </p:txBody>
      </p:sp>
      <p:sp>
        <p:nvSpPr>
          <p:cNvPr id="22532"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12813" eaLnBrk="0" hangingPunct="0">
              <a:spcBef>
                <a:spcPct val="30000"/>
              </a:spcBef>
              <a:defRPr sz="1200">
                <a:solidFill>
                  <a:schemeClr val="tx1"/>
                </a:solidFill>
                <a:latin typeface="Calibri" pitchFamily="34" charset="0"/>
                <a:ea typeface="MS PGothic" pitchFamily="34" charset="-128"/>
              </a:defRPr>
            </a:lvl1pPr>
            <a:lvl2pPr marL="742950" indent="-285750" algn="l" defTabSz="912813" eaLnBrk="0" hangingPunct="0">
              <a:spcBef>
                <a:spcPct val="30000"/>
              </a:spcBef>
              <a:defRPr sz="1200">
                <a:solidFill>
                  <a:schemeClr val="tx1"/>
                </a:solidFill>
                <a:latin typeface="Calibri" pitchFamily="34" charset="0"/>
                <a:ea typeface="MS PGothic" pitchFamily="34" charset="-128"/>
              </a:defRPr>
            </a:lvl2pPr>
            <a:lvl3pPr marL="1143000" indent="-228600" algn="l" defTabSz="912813" eaLnBrk="0" hangingPunct="0">
              <a:spcBef>
                <a:spcPct val="30000"/>
              </a:spcBef>
              <a:defRPr sz="1200">
                <a:solidFill>
                  <a:schemeClr val="tx1"/>
                </a:solidFill>
                <a:latin typeface="Calibri" pitchFamily="34" charset="0"/>
                <a:ea typeface="MS PGothic" pitchFamily="34" charset="-128"/>
              </a:defRPr>
            </a:lvl3pPr>
            <a:lvl4pPr marL="1600200" indent="-228600" algn="l" defTabSz="912813" eaLnBrk="0" hangingPunct="0">
              <a:spcBef>
                <a:spcPct val="30000"/>
              </a:spcBef>
              <a:defRPr sz="1200">
                <a:solidFill>
                  <a:schemeClr val="tx1"/>
                </a:solidFill>
                <a:latin typeface="Calibri" pitchFamily="34" charset="0"/>
                <a:ea typeface="MS PGothic" pitchFamily="34" charset="-128"/>
              </a:defRPr>
            </a:lvl4pPr>
            <a:lvl5pPr marL="2057400" indent="-228600" algn="l" defTabSz="912813" eaLnBrk="0" hangingPunct="0">
              <a:spcBef>
                <a:spcPct val="30000"/>
              </a:spcBef>
              <a:defRPr sz="1200">
                <a:solidFill>
                  <a:schemeClr val="tx1"/>
                </a:solidFill>
                <a:latin typeface="Calibri" pitchFamily="34" charset="0"/>
                <a:ea typeface="MS PGothic" pitchFamily="34" charset="-128"/>
              </a:defRPr>
            </a:lvl5pPr>
            <a:lvl6pPr marL="2514600" indent="-228600" defTabSz="912813"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defTabSz="912813"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defTabSz="912813"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defTabSz="912813"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algn="r" eaLnBrk="1" hangingPunct="1">
              <a:spcBef>
                <a:spcPct val="0"/>
              </a:spcBef>
            </a:pPr>
            <a:fld id="{230A84C1-0699-4A2E-9D00-8136D40CD148}" type="slidenum">
              <a:rPr lang="es-ES" altLang="es-ES" smtClean="0">
                <a:solidFill>
                  <a:srgbClr val="000000"/>
                </a:solidFill>
                <a:latin typeface="Gill Sans" charset="0"/>
                <a:ea typeface="ヒラギノ角ゴ ProN W3" charset="-128"/>
              </a:rPr>
              <a:pPr algn="r" eaLnBrk="1" hangingPunct="1">
                <a:spcBef>
                  <a:spcPct val="0"/>
                </a:spcBef>
              </a:pPr>
              <a:t>4</a:t>
            </a:fld>
            <a:endParaRPr lang="es-ES" altLang="es-ES" smtClean="0">
              <a:solidFill>
                <a:srgbClr val="000000"/>
              </a:solidFill>
              <a:latin typeface="Gill Sans" charset="0"/>
              <a:ea typeface="ヒラギノ角ゴ ProN W3"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defTabSz="915988" eaLnBrk="0" hangingPunct="0">
              <a:spcBef>
                <a:spcPct val="30000"/>
              </a:spcBef>
              <a:defRPr sz="1200">
                <a:solidFill>
                  <a:schemeClr val="tx1"/>
                </a:solidFill>
                <a:latin typeface="Calibri" pitchFamily="34" charset="0"/>
                <a:ea typeface="MS PGothic" pitchFamily="34" charset="-128"/>
              </a:defRPr>
            </a:lvl1pPr>
            <a:lvl2pPr marL="742950" indent="-285750" algn="l" defTabSz="915988" eaLnBrk="0" hangingPunct="0">
              <a:spcBef>
                <a:spcPct val="30000"/>
              </a:spcBef>
              <a:defRPr sz="1200">
                <a:solidFill>
                  <a:schemeClr val="tx1"/>
                </a:solidFill>
                <a:latin typeface="Calibri" pitchFamily="34" charset="0"/>
                <a:ea typeface="MS PGothic" pitchFamily="34" charset="-128"/>
              </a:defRPr>
            </a:lvl2pPr>
            <a:lvl3pPr marL="1143000" indent="-228600" algn="l" defTabSz="915988" eaLnBrk="0" hangingPunct="0">
              <a:spcBef>
                <a:spcPct val="30000"/>
              </a:spcBef>
              <a:defRPr sz="1200">
                <a:solidFill>
                  <a:schemeClr val="tx1"/>
                </a:solidFill>
                <a:latin typeface="Calibri" pitchFamily="34" charset="0"/>
                <a:ea typeface="MS PGothic" pitchFamily="34" charset="-128"/>
              </a:defRPr>
            </a:lvl3pPr>
            <a:lvl4pPr marL="1600200" indent="-228600" algn="l" defTabSz="915988" eaLnBrk="0" hangingPunct="0">
              <a:spcBef>
                <a:spcPct val="30000"/>
              </a:spcBef>
              <a:defRPr sz="1200">
                <a:solidFill>
                  <a:schemeClr val="tx1"/>
                </a:solidFill>
                <a:latin typeface="Calibri" pitchFamily="34" charset="0"/>
                <a:ea typeface="MS PGothic" pitchFamily="34" charset="-128"/>
              </a:defRPr>
            </a:lvl4pPr>
            <a:lvl5pPr marL="2057400" indent="-228600" algn="l" defTabSz="915988" eaLnBrk="0" hangingPunct="0">
              <a:spcBef>
                <a:spcPct val="30000"/>
              </a:spcBef>
              <a:defRPr sz="1200">
                <a:solidFill>
                  <a:schemeClr val="tx1"/>
                </a:solidFill>
                <a:latin typeface="Calibri" pitchFamily="34" charset="0"/>
                <a:ea typeface="MS PGothic" pitchFamily="34" charset="-128"/>
              </a:defRPr>
            </a:lvl5pPr>
            <a:lvl6pPr marL="2514600" indent="-228600" defTabSz="915988"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defTabSz="915988"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defTabSz="915988"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defTabSz="915988"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algn="r" eaLnBrk="1" hangingPunct="1">
              <a:spcBef>
                <a:spcPct val="0"/>
              </a:spcBef>
            </a:pPr>
            <a:fld id="{5F429DF2-32BA-422A-890A-12E2972B3146}" type="slidenum">
              <a:rPr lang="en-US" altLang="es-ES" sz="1100" smtClean="0">
                <a:latin typeface="TheSansCorrespondence" pitchFamily="34" charset="0"/>
              </a:rPr>
              <a:pPr algn="r" eaLnBrk="1" hangingPunct="1">
                <a:spcBef>
                  <a:spcPct val="0"/>
                </a:spcBef>
              </a:pPr>
              <a:t>5</a:t>
            </a:fld>
            <a:endParaRPr lang="en-US" altLang="es-ES" sz="1100" smtClean="0">
              <a:latin typeface="TheSansCorrespondence" pitchFamily="34" charset="0"/>
            </a:endParaRPr>
          </a:p>
        </p:txBody>
      </p:sp>
      <p:sp>
        <p:nvSpPr>
          <p:cNvPr id="23555" name="Rectangle 7"/>
          <p:cNvSpPr txBox="1">
            <a:spLocks noGrp="1" noChangeArrowheads="1"/>
          </p:cNvSpPr>
          <p:nvPr/>
        </p:nvSpPr>
        <p:spPr bwMode="auto">
          <a:xfrm>
            <a:off x="3887055" y="8686800"/>
            <a:ext cx="297094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715" tIns="45859" rIns="91715" bIns="45859" anchor="b"/>
          <a:lstStyle>
            <a:lvl1pPr algn="l" defTabSz="957263" eaLnBrk="0" hangingPunct="0">
              <a:spcBef>
                <a:spcPct val="30000"/>
              </a:spcBef>
              <a:defRPr sz="1200">
                <a:solidFill>
                  <a:schemeClr val="tx1"/>
                </a:solidFill>
                <a:latin typeface="Calibri" pitchFamily="34" charset="0"/>
                <a:ea typeface="MS PGothic" pitchFamily="34" charset="-128"/>
              </a:defRPr>
            </a:lvl1pPr>
            <a:lvl2pPr marL="742950" indent="-285750" algn="l" defTabSz="957263" eaLnBrk="0" hangingPunct="0">
              <a:spcBef>
                <a:spcPct val="30000"/>
              </a:spcBef>
              <a:defRPr sz="1200">
                <a:solidFill>
                  <a:schemeClr val="tx1"/>
                </a:solidFill>
                <a:latin typeface="Calibri" pitchFamily="34" charset="0"/>
                <a:ea typeface="MS PGothic" pitchFamily="34" charset="-128"/>
              </a:defRPr>
            </a:lvl2pPr>
            <a:lvl3pPr marL="1143000" indent="-228600" algn="l" defTabSz="957263" eaLnBrk="0" hangingPunct="0">
              <a:spcBef>
                <a:spcPct val="30000"/>
              </a:spcBef>
              <a:defRPr sz="1200">
                <a:solidFill>
                  <a:schemeClr val="tx1"/>
                </a:solidFill>
                <a:latin typeface="Calibri" pitchFamily="34" charset="0"/>
                <a:ea typeface="MS PGothic" pitchFamily="34" charset="-128"/>
              </a:defRPr>
            </a:lvl3pPr>
            <a:lvl4pPr marL="1600200" indent="-228600" algn="l" defTabSz="957263" eaLnBrk="0" hangingPunct="0">
              <a:spcBef>
                <a:spcPct val="30000"/>
              </a:spcBef>
              <a:defRPr sz="1200">
                <a:solidFill>
                  <a:schemeClr val="tx1"/>
                </a:solidFill>
                <a:latin typeface="Calibri" pitchFamily="34" charset="0"/>
                <a:ea typeface="MS PGothic" pitchFamily="34" charset="-128"/>
              </a:defRPr>
            </a:lvl4pPr>
            <a:lvl5pPr marL="2057400" indent="-228600" algn="l" defTabSz="957263" eaLnBrk="0" hangingPunct="0">
              <a:spcBef>
                <a:spcPct val="30000"/>
              </a:spcBef>
              <a:defRPr sz="1200">
                <a:solidFill>
                  <a:schemeClr val="tx1"/>
                </a:solidFill>
                <a:latin typeface="Calibri" pitchFamily="34" charset="0"/>
                <a:ea typeface="MS PGothic" pitchFamily="34" charset="-128"/>
              </a:defRPr>
            </a:lvl5pPr>
            <a:lvl6pPr marL="2514600" indent="-228600" defTabSz="957263"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defTabSz="957263"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defTabSz="957263"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defTabSz="957263"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algn="r" eaLnBrk="1" hangingPunct="1">
              <a:spcBef>
                <a:spcPct val="0"/>
              </a:spcBef>
            </a:pPr>
            <a:fld id="{EFA3D5DE-291D-4367-9405-F6062F95A0ED}" type="slidenum">
              <a:rPr lang="en-US" altLang="es-ES">
                <a:latin typeface="TheSansCorrespondence" pitchFamily="34" charset="0"/>
              </a:rPr>
              <a:pPr algn="r" eaLnBrk="1" hangingPunct="1">
                <a:spcBef>
                  <a:spcPct val="0"/>
                </a:spcBef>
              </a:pPr>
              <a:t>5</a:t>
            </a:fld>
            <a:endParaRPr lang="en-US" altLang="es-ES">
              <a:latin typeface="TheSansCorrespondence" pitchFamily="34" charset="0"/>
            </a:endParaRPr>
          </a:p>
        </p:txBody>
      </p:sp>
      <p:sp>
        <p:nvSpPr>
          <p:cNvPr id="23556" name="Rectangle 7"/>
          <p:cNvSpPr txBox="1">
            <a:spLocks noGrp="1" noChangeArrowheads="1"/>
          </p:cNvSpPr>
          <p:nvPr/>
        </p:nvSpPr>
        <p:spPr bwMode="auto">
          <a:xfrm>
            <a:off x="3887055" y="8686800"/>
            <a:ext cx="297094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702" tIns="45852" rIns="91702" bIns="45852" anchor="b"/>
          <a:lstStyle>
            <a:lvl1pPr algn="l" defTabSz="955675" eaLnBrk="0" hangingPunct="0">
              <a:spcBef>
                <a:spcPct val="30000"/>
              </a:spcBef>
              <a:defRPr sz="1200">
                <a:solidFill>
                  <a:schemeClr val="tx1"/>
                </a:solidFill>
                <a:latin typeface="Calibri" pitchFamily="34" charset="0"/>
                <a:ea typeface="MS PGothic" pitchFamily="34" charset="-128"/>
              </a:defRPr>
            </a:lvl1pPr>
            <a:lvl2pPr marL="742950" indent="-285750" algn="l" defTabSz="955675" eaLnBrk="0" hangingPunct="0">
              <a:spcBef>
                <a:spcPct val="30000"/>
              </a:spcBef>
              <a:defRPr sz="1200">
                <a:solidFill>
                  <a:schemeClr val="tx1"/>
                </a:solidFill>
                <a:latin typeface="Calibri" pitchFamily="34" charset="0"/>
                <a:ea typeface="MS PGothic" pitchFamily="34" charset="-128"/>
              </a:defRPr>
            </a:lvl2pPr>
            <a:lvl3pPr marL="1143000" indent="-228600" algn="l" defTabSz="955675" eaLnBrk="0" hangingPunct="0">
              <a:spcBef>
                <a:spcPct val="30000"/>
              </a:spcBef>
              <a:defRPr sz="1200">
                <a:solidFill>
                  <a:schemeClr val="tx1"/>
                </a:solidFill>
                <a:latin typeface="Calibri" pitchFamily="34" charset="0"/>
                <a:ea typeface="MS PGothic" pitchFamily="34" charset="-128"/>
              </a:defRPr>
            </a:lvl3pPr>
            <a:lvl4pPr marL="1600200" indent="-228600" algn="l" defTabSz="955675" eaLnBrk="0" hangingPunct="0">
              <a:spcBef>
                <a:spcPct val="30000"/>
              </a:spcBef>
              <a:defRPr sz="1200">
                <a:solidFill>
                  <a:schemeClr val="tx1"/>
                </a:solidFill>
                <a:latin typeface="Calibri" pitchFamily="34" charset="0"/>
                <a:ea typeface="MS PGothic" pitchFamily="34" charset="-128"/>
              </a:defRPr>
            </a:lvl4pPr>
            <a:lvl5pPr marL="2057400" indent="-228600" algn="l" defTabSz="955675" eaLnBrk="0" hangingPunct="0">
              <a:spcBef>
                <a:spcPct val="30000"/>
              </a:spcBef>
              <a:defRPr sz="1200">
                <a:solidFill>
                  <a:schemeClr val="tx1"/>
                </a:solidFill>
                <a:latin typeface="Calibri" pitchFamily="34" charset="0"/>
                <a:ea typeface="MS PGothic" pitchFamily="34" charset="-128"/>
              </a:defRPr>
            </a:lvl5pPr>
            <a:lvl6pPr marL="2514600" indent="-228600" defTabSz="955675"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defTabSz="955675"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defTabSz="955675"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defTabSz="955675"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algn="r" eaLnBrk="1" hangingPunct="1">
              <a:spcBef>
                <a:spcPct val="0"/>
              </a:spcBef>
            </a:pPr>
            <a:fld id="{180098F2-858F-4EC2-A2FE-2C78765D3EAC}" type="slidenum">
              <a:rPr lang="en-US" altLang="es-ES">
                <a:latin typeface="TheSansCorrespondence" pitchFamily="34" charset="0"/>
              </a:rPr>
              <a:pPr algn="r" eaLnBrk="1" hangingPunct="1">
                <a:spcBef>
                  <a:spcPct val="0"/>
                </a:spcBef>
              </a:pPr>
              <a:t>5</a:t>
            </a:fld>
            <a:endParaRPr lang="en-US" altLang="es-ES">
              <a:latin typeface="TheSansCorrespondence" pitchFamily="34" charset="0"/>
            </a:endParaRPr>
          </a:p>
        </p:txBody>
      </p:sp>
      <p:sp>
        <p:nvSpPr>
          <p:cNvPr id="23557" name="Rectangle 2"/>
          <p:cNvSpPr>
            <a:spLocks noGrp="1" noRot="1" noChangeAspect="1" noChangeArrowheads="1" noTextEdit="1"/>
          </p:cNvSpPr>
          <p:nvPr>
            <p:ph type="sldImg"/>
          </p:nvPr>
        </p:nvSpPr>
        <p:spPr bwMode="auto">
          <a:xfrm>
            <a:off x="1141413" y="685800"/>
            <a:ext cx="4573587"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02" tIns="45852" rIns="91702" bIns="45852"/>
          <a:lstStyle/>
          <a:p>
            <a:pPr eaLnBrk="1" hangingPunct="1"/>
            <a:r>
              <a:rPr lang="en-GB" altLang="es-ES" smtClean="0"/>
              <a:t>Telefónica S.A.</a:t>
            </a:r>
          </a:p>
          <a:p>
            <a:pPr eaLnBrk="1" hangingPunct="1"/>
            <a:r>
              <a:rPr lang="en-GB" altLang="es-ES" smtClean="0"/>
              <a:t>Office of Climate Change and Energy Efficiency</a:t>
            </a:r>
          </a:p>
          <a:p>
            <a:pPr eaLnBrk="1" hangingPunct="1"/>
            <a:endParaRPr lang="en-GB" altLang="es-ES" smtClean="0"/>
          </a:p>
          <a:p>
            <a:pPr eaLnBrk="1" hangingPunct="1"/>
            <a:r>
              <a:rPr lang="en-GB" altLang="es-ES" smtClean="0"/>
              <a:t>One example to be taken into account is the effort of the Santander Smart City (one of the first models of smart city in Spain) where Telefónica has participated together with other partners. [1] This is a great example of business opportunity identification materialized in research and development practices. </a:t>
            </a:r>
            <a:endParaRPr lang="es-ES" altLang="es-ES" smtClean="0"/>
          </a:p>
          <a:p>
            <a:pPr eaLnBrk="1" hangingPunct="1"/>
            <a:r>
              <a:rPr lang="es-ES" altLang="es-ES" smtClean="0"/>
              <a:t/>
            </a:r>
            <a:br>
              <a:rPr lang="es-ES" altLang="es-ES" smtClean="0"/>
            </a:br>
            <a:r>
              <a:rPr lang="en-GB" altLang="es-ES" smtClean="0"/>
              <a:t>Telecommunications companies and other ICT organizations must promote the development of public-private partnerships to align business strategies to climate change policies. Smart cities models are examples of joint activities. </a:t>
            </a:r>
          </a:p>
          <a:p>
            <a:pPr eaLnBrk="1" hangingPunct="1"/>
            <a:endParaRPr lang="en-GB" altLang="es-E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TextEdit="1"/>
          </p:cNvSpPr>
          <p:nvPr>
            <p:ph type="sldImg"/>
          </p:nvPr>
        </p:nvSpPr>
        <p:spPr>
          <a:noFill/>
        </p:spPr>
      </p:sp>
      <p:sp>
        <p:nvSpPr>
          <p:cNvPr id="23555" name="Rectangle 3"/>
          <p:cNvSpPr>
            <a:spLocks noGrp="1"/>
          </p:cNvSpPr>
          <p:nvPr>
            <p:ph type="body" idx="1"/>
          </p:nvPr>
        </p:nvSpPr>
        <p:spPr>
          <a:noFill/>
        </p:spPr>
        <p:txBody>
          <a:bodyPr/>
          <a:lstStyle/>
          <a:p>
            <a:endParaRPr lang="es-ES_tradnl"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a:p>
        </p:txBody>
      </p:sp>
      <p:sp>
        <p:nvSpPr>
          <p:cNvPr id="4" name="3 Marcador de número de diapositiva"/>
          <p:cNvSpPr>
            <a:spLocks noGrp="1"/>
          </p:cNvSpPr>
          <p:nvPr>
            <p:ph type="sldNum" sz="quarter" idx="10"/>
          </p:nvPr>
        </p:nvSpPr>
        <p:spPr/>
        <p:txBody>
          <a:bodyPr/>
          <a:lstStyle/>
          <a:p>
            <a:fld id="{BCEB951B-3A57-4B7B-9395-DA8935C9F482}" type="slidenum">
              <a:rPr lang="en-US" smtClean="0"/>
              <a:t>9</a:t>
            </a:fld>
            <a:endParaRPr lang="en-US"/>
          </a:p>
        </p:txBody>
      </p:sp>
    </p:spTree>
    <p:extLst>
      <p:ext uri="{BB962C8B-B14F-4D97-AF65-F5344CB8AC3E}">
        <p14:creationId xmlns:p14="http://schemas.microsoft.com/office/powerpoint/2010/main" val="26810895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lefónica - Títulos">
    <p:spTree>
      <p:nvGrpSpPr>
        <p:cNvPr id="1" name=""/>
        <p:cNvGrpSpPr/>
        <p:nvPr/>
      </p:nvGrpSpPr>
      <p:grpSpPr>
        <a:xfrm>
          <a:off x="0" y="0"/>
          <a:ext cx="0" cy="0"/>
          <a:chOff x="0" y="0"/>
          <a:chExt cx="0" cy="0"/>
        </a:xfrm>
      </p:grpSpPr>
      <p:grpSp>
        <p:nvGrpSpPr>
          <p:cNvPr id="2" name="Group 1"/>
          <p:cNvGrpSpPr/>
          <p:nvPr userDrawn="1"/>
        </p:nvGrpSpPr>
        <p:grpSpPr>
          <a:xfrm>
            <a:off x="-23446" y="2286000"/>
            <a:ext cx="9167446" cy="2159000"/>
            <a:chOff x="-23446" y="2286000"/>
            <a:chExt cx="9167446" cy="2159000"/>
          </a:xfrm>
        </p:grpSpPr>
        <p:sp>
          <p:nvSpPr>
            <p:cNvPr id="3" name="Rectangle 1"/>
            <p:cNvSpPr>
              <a:spLocks/>
            </p:cNvSpPr>
            <p:nvPr userDrawn="1"/>
          </p:nvSpPr>
          <p:spPr bwMode="auto">
            <a:xfrm>
              <a:off x="128954" y="2286000"/>
              <a:ext cx="8663354" cy="2159000"/>
            </a:xfrm>
            <a:prstGeom prst="rect">
              <a:avLst/>
            </a:prstGeom>
            <a:solidFill>
              <a:srgbClr val="E7E7E0"/>
            </a:solidFill>
            <a:ln w="9525">
              <a:noFill/>
              <a:miter lim="800000"/>
              <a:headEnd/>
              <a:tailEnd/>
            </a:ln>
          </p:spPr>
          <p:txBody>
            <a:bodyPr lIns="0" tIns="0" rIns="0" bIns="0"/>
            <a:lstStyle/>
            <a:p>
              <a:endParaRPr lang="es-ES"/>
            </a:p>
          </p:txBody>
        </p:sp>
        <p:sp>
          <p:nvSpPr>
            <p:cNvPr id="4" name="Rectangle 9"/>
            <p:cNvSpPr>
              <a:spLocks/>
            </p:cNvSpPr>
            <p:nvPr userDrawn="1"/>
          </p:nvSpPr>
          <p:spPr bwMode="auto">
            <a:xfrm>
              <a:off x="-23446" y="2286000"/>
              <a:ext cx="152400" cy="2159000"/>
            </a:xfrm>
            <a:prstGeom prst="rect">
              <a:avLst/>
            </a:prstGeom>
            <a:solidFill>
              <a:schemeClr val="accent5"/>
            </a:solidFill>
            <a:ln w="25400">
              <a:noFill/>
              <a:miter lim="800000"/>
              <a:headEnd/>
              <a:tailEnd/>
            </a:ln>
          </p:spPr>
          <p:txBody>
            <a:bodyPr lIns="0" tIns="0" rIns="0" bIns="0"/>
            <a:lstStyle/>
            <a:p>
              <a:endParaRPr lang="es-ES"/>
            </a:p>
          </p:txBody>
        </p:sp>
        <p:sp>
          <p:nvSpPr>
            <p:cNvPr id="5" name="Rectangle 10"/>
            <p:cNvSpPr>
              <a:spLocks/>
            </p:cNvSpPr>
            <p:nvPr userDrawn="1"/>
          </p:nvSpPr>
          <p:spPr bwMode="auto">
            <a:xfrm>
              <a:off x="128954" y="2286000"/>
              <a:ext cx="82062" cy="2159000"/>
            </a:xfrm>
            <a:prstGeom prst="rect">
              <a:avLst/>
            </a:prstGeom>
            <a:solidFill>
              <a:schemeClr val="tx2"/>
            </a:solidFill>
            <a:ln w="25400">
              <a:noFill/>
              <a:miter lim="800000"/>
              <a:headEnd/>
              <a:tailEnd/>
            </a:ln>
          </p:spPr>
          <p:txBody>
            <a:bodyPr lIns="0" tIns="0" rIns="0" bIns="0"/>
            <a:lstStyle/>
            <a:p>
              <a:endParaRPr lang="es-ES"/>
            </a:p>
          </p:txBody>
        </p:sp>
        <p:sp>
          <p:nvSpPr>
            <p:cNvPr id="6" name="Rectangle 11"/>
            <p:cNvSpPr>
              <a:spLocks/>
            </p:cNvSpPr>
            <p:nvPr userDrawn="1"/>
          </p:nvSpPr>
          <p:spPr bwMode="auto">
            <a:xfrm>
              <a:off x="8792308" y="2286000"/>
              <a:ext cx="351692" cy="2159000"/>
            </a:xfrm>
            <a:prstGeom prst="rect">
              <a:avLst/>
            </a:prstGeom>
            <a:solidFill>
              <a:schemeClr val="tx2"/>
            </a:solidFill>
            <a:ln w="25400">
              <a:noFill/>
              <a:miter lim="800000"/>
              <a:headEnd/>
              <a:tailEnd/>
            </a:ln>
          </p:spPr>
          <p:txBody>
            <a:bodyPr lIns="0" tIns="0" rIns="0" bIns="0"/>
            <a:lstStyle/>
            <a:p>
              <a:endParaRPr lang="es-ES"/>
            </a:p>
          </p:txBody>
        </p:sp>
      </p:grpSp>
      <p:sp>
        <p:nvSpPr>
          <p:cNvPr id="11" name="Title 1"/>
          <p:cNvSpPr>
            <a:spLocks noGrp="1"/>
          </p:cNvSpPr>
          <p:nvPr>
            <p:ph type="ctrTitle" hasCustomPrompt="1"/>
          </p:nvPr>
        </p:nvSpPr>
        <p:spPr>
          <a:xfrm>
            <a:off x="970085" y="2408239"/>
            <a:ext cx="7772400" cy="1020762"/>
          </a:xfrm>
          <a:prstGeom prst="rect">
            <a:avLst/>
          </a:prstGeom>
        </p:spPr>
        <p:txBody>
          <a:bodyPr anchor="ctr"/>
          <a:lstStyle>
            <a:lvl1pPr algn="r">
              <a:defRPr sz="3000" b="1">
                <a:solidFill>
                  <a:schemeClr val="tx2"/>
                </a:solidFill>
              </a:defRPr>
            </a:lvl1pPr>
          </a:lstStyle>
          <a:p>
            <a:r>
              <a:rPr lang="en-GB" dirty="0" smtClean="0"/>
              <a:t>Presentation Title</a:t>
            </a:r>
            <a:br>
              <a:rPr lang="en-GB" dirty="0" smtClean="0"/>
            </a:br>
            <a:r>
              <a:rPr lang="en-GB" dirty="0" smtClean="0"/>
              <a:t>Two lines and 30 </a:t>
            </a:r>
            <a:r>
              <a:rPr lang="en-GB" dirty="0" err="1" smtClean="0"/>
              <a:t>pt</a:t>
            </a:r>
            <a:r>
              <a:rPr lang="en-GB" dirty="0" smtClean="0"/>
              <a:t>_</a:t>
            </a:r>
            <a:endParaRPr lang="en-GB" dirty="0"/>
          </a:p>
        </p:txBody>
      </p:sp>
      <p:sp>
        <p:nvSpPr>
          <p:cNvPr id="12" name="Subtitle 2"/>
          <p:cNvSpPr>
            <a:spLocks noGrp="1"/>
          </p:cNvSpPr>
          <p:nvPr>
            <p:ph type="subTitle" idx="1" hasCustomPrompt="1"/>
          </p:nvPr>
        </p:nvSpPr>
        <p:spPr>
          <a:xfrm>
            <a:off x="2341686" y="3486605"/>
            <a:ext cx="6400800" cy="885825"/>
          </a:xfrm>
          <a:prstGeom prst="rect">
            <a:avLst/>
          </a:prstGeom>
        </p:spPr>
        <p:txBody>
          <a:bodyPr/>
          <a:lstStyle>
            <a:lvl1pPr marL="0" indent="0" algn="r">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 front page (if necessary) 18pt</a:t>
            </a:r>
            <a:endParaRPr lang="en-GB" dirty="0"/>
          </a:p>
        </p:txBody>
      </p:sp>
    </p:spTree>
    <p:extLst>
      <p:ext uri="{BB962C8B-B14F-4D97-AF65-F5344CB8AC3E}">
        <p14:creationId xmlns:p14="http://schemas.microsoft.com/office/powerpoint/2010/main" val="976594131"/>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lefónica - Introducción">
    <p:spTree>
      <p:nvGrpSpPr>
        <p:cNvPr id="1" name=""/>
        <p:cNvGrpSpPr/>
        <p:nvPr/>
      </p:nvGrpSpPr>
      <p:grpSpPr>
        <a:xfrm>
          <a:off x="0" y="0"/>
          <a:ext cx="0" cy="0"/>
          <a:chOff x="0" y="0"/>
          <a:chExt cx="0" cy="0"/>
        </a:xfrm>
      </p:grpSpPr>
      <p:sp>
        <p:nvSpPr>
          <p:cNvPr id="9"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Tree>
    <p:extLst>
      <p:ext uri="{BB962C8B-B14F-4D97-AF65-F5344CB8AC3E}">
        <p14:creationId xmlns:p14="http://schemas.microsoft.com/office/powerpoint/2010/main" val="2664725272"/>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188913"/>
            <a:ext cx="8229600" cy="6477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57200" y="1600200"/>
            <a:ext cx="8229600"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6576369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val="3848877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232523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2507988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Tree>
    <p:extLst>
      <p:ext uri="{BB962C8B-B14F-4D97-AF65-F5344CB8AC3E}">
        <p14:creationId xmlns:p14="http://schemas.microsoft.com/office/powerpoint/2010/main" val="2795313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155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lefónica - en Blanco">
    <p:spTree>
      <p:nvGrpSpPr>
        <p:cNvPr id="1" name=""/>
        <p:cNvGrpSpPr/>
        <p:nvPr/>
      </p:nvGrpSpPr>
      <p:grpSpPr>
        <a:xfrm>
          <a:off x="0" y="0"/>
          <a:ext cx="0" cy="0"/>
          <a:chOff x="0" y="0"/>
          <a:chExt cx="0" cy="0"/>
        </a:xfrm>
      </p:grpSpPr>
      <p:sp>
        <p:nvSpPr>
          <p:cNvPr id="4"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smtClean="0"/>
              <a:pPr/>
              <a:t>‹#›</a:t>
            </a:fld>
            <a:endParaRPr lang="en-GB" dirty="0"/>
          </a:p>
        </p:txBody>
      </p:sp>
    </p:spTree>
    <p:extLst>
      <p:ext uri="{BB962C8B-B14F-4D97-AF65-F5344CB8AC3E}">
        <p14:creationId xmlns:p14="http://schemas.microsoft.com/office/powerpoint/2010/main" val="4110582154"/>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155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188913"/>
            <a:ext cx="8229600" cy="647700"/>
          </a:xfrm>
          <a:prstGeom prst="rect">
            <a:avLst/>
          </a:prstGeom>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a:xfrm>
            <a:off x="457200" y="1600200"/>
            <a:ext cx="8229600"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Tree>
    <p:extLst>
      <p:ext uri="{BB962C8B-B14F-4D97-AF65-F5344CB8AC3E}">
        <p14:creationId xmlns:p14="http://schemas.microsoft.com/office/powerpoint/2010/main" val="3985676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lefónica - Introducción">
    <p:spTree>
      <p:nvGrpSpPr>
        <p:cNvPr id="1" name=""/>
        <p:cNvGrpSpPr/>
        <p:nvPr/>
      </p:nvGrpSpPr>
      <p:grpSpPr>
        <a:xfrm>
          <a:off x="0" y="0"/>
          <a:ext cx="0" cy="0"/>
          <a:chOff x="0" y="0"/>
          <a:chExt cx="0" cy="0"/>
        </a:xfrm>
      </p:grpSpPr>
      <p:sp>
        <p:nvSpPr>
          <p:cNvPr id="9"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Tree>
    <p:extLst>
      <p:ext uri="{BB962C8B-B14F-4D97-AF65-F5344CB8AC3E}">
        <p14:creationId xmlns:p14="http://schemas.microsoft.com/office/powerpoint/2010/main" val="4170625604"/>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lefónica - Introducción">
    <p:spTree>
      <p:nvGrpSpPr>
        <p:cNvPr id="1" name=""/>
        <p:cNvGrpSpPr/>
        <p:nvPr/>
      </p:nvGrpSpPr>
      <p:grpSpPr>
        <a:xfrm>
          <a:off x="0" y="0"/>
          <a:ext cx="0" cy="0"/>
          <a:chOff x="0" y="0"/>
          <a:chExt cx="0" cy="0"/>
        </a:xfrm>
      </p:grpSpPr>
      <p:sp>
        <p:nvSpPr>
          <p:cNvPr id="9"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Tree>
    <p:extLst>
      <p:ext uri="{BB962C8B-B14F-4D97-AF65-F5344CB8AC3E}">
        <p14:creationId xmlns:p14="http://schemas.microsoft.com/office/powerpoint/2010/main" val="1021300223"/>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lefónica - Introducción">
    <p:spTree>
      <p:nvGrpSpPr>
        <p:cNvPr id="1" name=""/>
        <p:cNvGrpSpPr/>
        <p:nvPr/>
      </p:nvGrpSpPr>
      <p:grpSpPr>
        <a:xfrm>
          <a:off x="0" y="0"/>
          <a:ext cx="0" cy="0"/>
          <a:chOff x="0" y="0"/>
          <a:chExt cx="0" cy="0"/>
        </a:xfrm>
      </p:grpSpPr>
      <p:sp>
        <p:nvSpPr>
          <p:cNvPr id="9"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Tree>
    <p:extLst>
      <p:ext uri="{BB962C8B-B14F-4D97-AF65-F5344CB8AC3E}">
        <p14:creationId xmlns:p14="http://schemas.microsoft.com/office/powerpoint/2010/main" val="1113122474"/>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lefónica - Título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97743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79353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6.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7.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8.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9.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9.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AutoShape 2"/>
          <p:cNvSpPr>
            <a:spLocks/>
          </p:cNvSpPr>
          <p:nvPr userDrawn="1"/>
        </p:nvSpPr>
        <p:spPr bwMode="auto">
          <a:xfrm>
            <a:off x="372208" y="581025"/>
            <a:ext cx="1676400" cy="501650"/>
          </a:xfrm>
          <a:custGeom>
            <a:avLst/>
            <a:gdLst>
              <a:gd name="T0" fmla="*/ 0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600"/>
              <a:gd name="T160" fmla="*/ 0 h 21600"/>
              <a:gd name="T161" fmla="*/ 21600 w 21600"/>
              <a:gd name="T162" fmla="*/ 21600 h 216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chemeClr val="accent1"/>
          </a:solidFill>
          <a:ln w="25400">
            <a:noFill/>
            <a:miter lim="800000"/>
            <a:headEnd/>
            <a:tailEnd/>
          </a:ln>
        </p:spPr>
        <p:txBody>
          <a:bodyPr lIns="0" tIns="0" rIns="0" bIns="0"/>
          <a:lstStyle/>
          <a:p>
            <a:endParaRPr lang="es-ES_tradnl"/>
          </a:p>
        </p:txBody>
      </p:sp>
      <p:grpSp>
        <p:nvGrpSpPr>
          <p:cNvPr id="4099" name="Group 4"/>
          <p:cNvGrpSpPr>
            <a:grpSpLocks/>
          </p:cNvGrpSpPr>
          <p:nvPr userDrawn="1"/>
        </p:nvGrpSpPr>
        <p:grpSpPr bwMode="auto">
          <a:xfrm>
            <a:off x="7630258" y="6437314"/>
            <a:ext cx="1129811" cy="231775"/>
            <a:chOff x="0" y="0"/>
            <a:chExt cx="591" cy="111"/>
          </a:xfrm>
        </p:grpSpPr>
        <p:sp>
          <p:nvSpPr>
            <p:cNvPr id="2056" name="AutoShape 2"/>
            <p:cNvSpPr>
              <a:spLocks/>
            </p:cNvSpPr>
            <p:nvPr/>
          </p:nvSpPr>
          <p:spPr bwMode="auto">
            <a:xfrm>
              <a:off x="0" y="0"/>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w="25400">
              <a:noFill/>
              <a:miter lim="800000"/>
              <a:headEnd/>
              <a:tailEnd/>
            </a:ln>
          </p:spPr>
          <p:txBody>
            <a:bodyPr lIns="0" tIns="0" rIns="0" bIns="0"/>
            <a:lstStyle/>
            <a:p>
              <a:endParaRPr lang="es-ES_tradnl"/>
            </a:p>
          </p:txBody>
        </p:sp>
        <p:sp>
          <p:nvSpPr>
            <p:cNvPr id="2057"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870" y="0"/>
                  </a:lnTo>
                  <a:lnTo>
                    <a:pt x="21600" y="0"/>
                  </a:lnTo>
                  <a:lnTo>
                    <a:pt x="20730" y="21600"/>
                  </a:lnTo>
                  <a:lnTo>
                    <a:pt x="0" y="21600"/>
                  </a:lnTo>
                  <a:close/>
                  <a:moveTo>
                    <a:pt x="0" y="21600"/>
                  </a:moveTo>
                </a:path>
              </a:pathLst>
            </a:custGeom>
            <a:solidFill>
              <a:srgbClr val="7DFE9D"/>
            </a:solidFill>
            <a:ln w="25400">
              <a:noFill/>
              <a:miter lim="800000"/>
              <a:headEnd/>
              <a:tailEnd/>
            </a:ln>
          </p:spPr>
          <p:txBody>
            <a:bodyPr lIns="0" tIns="0" rIns="0" bIns="0"/>
            <a:lstStyle/>
            <a:p>
              <a:endParaRPr lang="es-ES_tradnl"/>
            </a:p>
          </p:txBody>
        </p:sp>
      </p:grpSp>
    </p:spTree>
    <p:extLst>
      <p:ext uri="{BB962C8B-B14F-4D97-AF65-F5344CB8AC3E}">
        <p14:creationId xmlns:p14="http://schemas.microsoft.com/office/powerpoint/2010/main" val="2028104583"/>
      </p:ext>
    </p:extLst>
  </p:cSld>
  <p:clrMap bg1="lt1" tx1="dk1" bg2="lt2" tx2="dk2" accent1="accent1" accent2="accent2" accent3="accent3" accent4="accent4" accent5="accent5" accent6="accent6" hlink="hlink" folHlink="folHlink"/>
  <p:sldLayoutIdLst>
    <p:sldLayoutId id="2147483739" r:id="rId1"/>
  </p:sldLayoutIdLst>
  <p:transition/>
  <p:timing>
    <p:tnLst>
      <p:par>
        <p:cTn id="1" dur="indefinite" restart="never" nodeType="tmRoot"/>
      </p:par>
    </p:tnLst>
  </p:timing>
  <p:txStyles>
    <p:titleStyle>
      <a:lvl1pPr algn="ctr" rtl="0" eaLnBrk="0" fontAlgn="base" hangingPunct="0">
        <a:spcBef>
          <a:spcPct val="0"/>
        </a:spcBef>
        <a:spcAft>
          <a:spcPct val="0"/>
        </a:spcAft>
        <a:defRPr sz="5800">
          <a:solidFill>
            <a:schemeClr val="tx1"/>
          </a:solidFill>
          <a:latin typeface="+mj-lt"/>
          <a:ea typeface="+mj-ea"/>
          <a:cs typeface="+mj-cs"/>
          <a:sym typeface="Gill Sans" pitchFamily="-84"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defRPr sz="2400">
          <a:solidFill>
            <a:schemeClr val="tx1"/>
          </a:solidFill>
          <a:latin typeface="+mn-lt"/>
          <a:ea typeface="+mn-ea"/>
          <a:cs typeface="+mn-cs"/>
          <a:sym typeface="Gill Sans" pitchFamily="-84" charset="0"/>
        </a:defRPr>
      </a:lvl1pPr>
      <a:lvl2pPr marL="742950" indent="-285750" algn="ctr" rtl="0" eaLnBrk="0" fontAlgn="base" hangingPunct="0">
        <a:spcBef>
          <a:spcPct val="0"/>
        </a:spcBef>
        <a:spcAft>
          <a:spcPct val="0"/>
        </a:spcAft>
        <a:defRPr sz="2400">
          <a:solidFill>
            <a:schemeClr val="tx1"/>
          </a:solidFill>
          <a:latin typeface="+mn-lt"/>
          <a:ea typeface="+mn-ea"/>
          <a:cs typeface="+mn-cs"/>
          <a:sym typeface="Gill Sans" pitchFamily="-84" charset="0"/>
        </a:defRPr>
      </a:lvl2pPr>
      <a:lvl3pPr marL="1143000" indent="-228600" algn="ctr" rtl="0" eaLnBrk="0" fontAlgn="base" hangingPunct="0">
        <a:spcBef>
          <a:spcPct val="0"/>
        </a:spcBef>
        <a:spcAft>
          <a:spcPct val="0"/>
        </a:spcAft>
        <a:defRPr sz="2400">
          <a:solidFill>
            <a:schemeClr val="tx1"/>
          </a:solidFill>
          <a:latin typeface="+mn-lt"/>
          <a:ea typeface="+mn-ea"/>
          <a:cs typeface="+mn-cs"/>
          <a:sym typeface="Gill Sans" pitchFamily="-84" charset="0"/>
        </a:defRPr>
      </a:lvl3pPr>
      <a:lvl4pPr marL="1600200" indent="-228600" algn="ctr" rtl="0" eaLnBrk="0" fontAlgn="base" hangingPunct="0">
        <a:spcBef>
          <a:spcPct val="0"/>
        </a:spcBef>
        <a:spcAft>
          <a:spcPct val="0"/>
        </a:spcAft>
        <a:defRPr sz="2400">
          <a:solidFill>
            <a:schemeClr val="tx1"/>
          </a:solidFill>
          <a:latin typeface="+mn-lt"/>
          <a:ea typeface="+mn-ea"/>
          <a:cs typeface="+mn-cs"/>
          <a:sym typeface="Gill Sans" pitchFamily="-84" charset="0"/>
        </a:defRPr>
      </a:lvl4pPr>
      <a:lvl5pPr marL="2057400" indent="-228600" algn="ctr" rtl="0" eaLnBrk="0" fontAlgn="base" hangingPunct="0">
        <a:spcBef>
          <a:spcPct val="0"/>
        </a:spcBef>
        <a:spcAft>
          <a:spcPct val="0"/>
        </a:spcAft>
        <a:defRPr sz="2400">
          <a:solidFill>
            <a:schemeClr val="tx1"/>
          </a:solidFill>
          <a:latin typeface="+mn-lt"/>
          <a:ea typeface="+mn-ea"/>
          <a:cs typeface="+mn-cs"/>
          <a:sym typeface="Gill Sans" pitchFamily="-84" charset="0"/>
        </a:defRPr>
      </a:lvl5pPr>
      <a:lvl6pPr marL="457200" algn="ctr" rtl="0" fontAlgn="base">
        <a:spcBef>
          <a:spcPct val="0"/>
        </a:spcBef>
        <a:spcAft>
          <a:spcPct val="0"/>
        </a:spcAft>
        <a:defRPr sz="2400">
          <a:solidFill>
            <a:schemeClr val="tx1"/>
          </a:solidFill>
          <a:latin typeface="+mn-lt"/>
          <a:ea typeface="+mn-ea"/>
          <a:cs typeface="+mn-cs"/>
          <a:sym typeface="Gill Sans" charset="0"/>
        </a:defRPr>
      </a:lvl6pPr>
      <a:lvl7pPr marL="914400" algn="ctr" rtl="0" fontAlgn="base">
        <a:spcBef>
          <a:spcPct val="0"/>
        </a:spcBef>
        <a:spcAft>
          <a:spcPct val="0"/>
        </a:spcAft>
        <a:defRPr sz="2400">
          <a:solidFill>
            <a:schemeClr val="tx1"/>
          </a:solidFill>
          <a:latin typeface="+mn-lt"/>
          <a:ea typeface="+mn-ea"/>
          <a:cs typeface="+mn-cs"/>
          <a:sym typeface="Gill Sans" charset="0"/>
        </a:defRPr>
      </a:lvl7pPr>
      <a:lvl8pPr marL="1371600" algn="ctr" rtl="0" fontAlgn="base">
        <a:spcBef>
          <a:spcPct val="0"/>
        </a:spcBef>
        <a:spcAft>
          <a:spcPct val="0"/>
        </a:spcAft>
        <a:defRPr sz="2400">
          <a:solidFill>
            <a:schemeClr val="tx1"/>
          </a:solidFill>
          <a:latin typeface="+mn-lt"/>
          <a:ea typeface="+mn-ea"/>
          <a:cs typeface="+mn-cs"/>
          <a:sym typeface="Gill Sans" charset="0"/>
        </a:defRPr>
      </a:lvl8pPr>
      <a:lvl9pPr marL="1828800" algn="ctr" rtl="0" fontAlgn="base">
        <a:spcBef>
          <a:spcPct val="0"/>
        </a:spcBef>
        <a:spcAft>
          <a:spcPct val="0"/>
        </a:spcAft>
        <a:defRPr sz="24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47" name="AutoShape 5"/>
          <p:cNvSpPr>
            <a:spLocks/>
          </p:cNvSpPr>
          <p:nvPr/>
        </p:nvSpPr>
        <p:spPr bwMode="auto">
          <a:xfrm>
            <a:off x="8028844" y="6502400"/>
            <a:ext cx="830873" cy="249238"/>
          </a:xfrm>
          <a:custGeom>
            <a:avLst/>
            <a:gdLst>
              <a:gd name="T0" fmla="*/ 0 w 21600"/>
              <a:gd name="T1" fmla="*/ 892206852 h 21600"/>
              <a:gd name="T2" fmla="*/ 2147483647 w 21600"/>
              <a:gd name="T3" fmla="*/ 141473318 h 21600"/>
              <a:gd name="T4" fmla="*/ 2147483647 w 21600"/>
              <a:gd name="T5" fmla="*/ 96575026 h 21600"/>
              <a:gd name="T6" fmla="*/ 2147483647 w 21600"/>
              <a:gd name="T7" fmla="*/ 275193756 h 21600"/>
              <a:gd name="T8" fmla="*/ 2147483647 w 21600"/>
              <a:gd name="T9" fmla="*/ 59300706 h 21600"/>
              <a:gd name="T10" fmla="*/ 2147483647 w 21600"/>
              <a:gd name="T11" fmla="*/ 702363606 h 21600"/>
              <a:gd name="T12" fmla="*/ 2147483647 w 21600"/>
              <a:gd name="T13" fmla="*/ 341566847 h 21600"/>
              <a:gd name="T14" fmla="*/ 2147483647 w 21600"/>
              <a:gd name="T15" fmla="*/ 6989884 h 21600"/>
              <a:gd name="T16" fmla="*/ 2147483647 w 21600"/>
              <a:gd name="T17" fmla="*/ 12835521 h 21600"/>
              <a:gd name="T18" fmla="*/ 2147483647 w 21600"/>
              <a:gd name="T19" fmla="*/ 406713202 h 21600"/>
              <a:gd name="T20" fmla="*/ 2147483647 w 21600"/>
              <a:gd name="T21" fmla="*/ 446866336 h 21600"/>
              <a:gd name="T22" fmla="*/ 2147483647 w 21600"/>
              <a:gd name="T23" fmla="*/ 193528986 h 21600"/>
              <a:gd name="T24" fmla="*/ 2147483647 w 21600"/>
              <a:gd name="T25" fmla="*/ 592022721 h 21600"/>
              <a:gd name="T26" fmla="*/ 2147483647 w 21600"/>
              <a:gd name="T27" fmla="*/ 635735349 h 21600"/>
              <a:gd name="T28" fmla="*/ 2147483647 w 21600"/>
              <a:gd name="T29" fmla="*/ 421156883 h 21600"/>
              <a:gd name="T30" fmla="*/ 2147483647 w 21600"/>
              <a:gd name="T31" fmla="*/ 88484663 h 21600"/>
              <a:gd name="T32" fmla="*/ 2147483647 w 21600"/>
              <a:gd name="T33" fmla="*/ 232540374 h 21600"/>
              <a:gd name="T34" fmla="*/ 2147483647 w 21600"/>
              <a:gd name="T35" fmla="*/ 232540374 h 21600"/>
              <a:gd name="T36" fmla="*/ 2147483647 w 21600"/>
              <a:gd name="T37" fmla="*/ 528997692 h 21600"/>
              <a:gd name="T38" fmla="*/ 2147483647 w 21600"/>
              <a:gd name="T39" fmla="*/ 523871306 h 21600"/>
              <a:gd name="T40" fmla="*/ 2147483647 w 21600"/>
              <a:gd name="T41" fmla="*/ 493754362 h 21600"/>
              <a:gd name="T42" fmla="*/ 2147483647 w 21600"/>
              <a:gd name="T43" fmla="*/ 631585869 h 21600"/>
              <a:gd name="T44" fmla="*/ 2147483647 w 21600"/>
              <a:gd name="T45" fmla="*/ 201322939 h 21600"/>
              <a:gd name="T46" fmla="*/ 2147483647 w 21600"/>
              <a:gd name="T47" fmla="*/ 482658754 h 21600"/>
              <a:gd name="T48" fmla="*/ 2147483647 w 21600"/>
              <a:gd name="T49" fmla="*/ 231014554 h 21600"/>
              <a:gd name="T50" fmla="*/ 2147483647 w 21600"/>
              <a:gd name="T51" fmla="*/ 318228550 h 21600"/>
              <a:gd name="T52" fmla="*/ 2147483647 w 21600"/>
              <a:gd name="T53" fmla="*/ 277015998 h 21600"/>
              <a:gd name="T54" fmla="*/ 2147483647 w 21600"/>
              <a:gd name="T55" fmla="*/ 522811888 h 21600"/>
              <a:gd name="T56" fmla="*/ 2147483647 w 21600"/>
              <a:gd name="T57" fmla="*/ 219323441 h 21600"/>
              <a:gd name="T58" fmla="*/ 2147483647 w 21600"/>
              <a:gd name="T59" fmla="*/ 536451489 h 21600"/>
              <a:gd name="T60" fmla="*/ 2147483647 w 21600"/>
              <a:gd name="T61" fmla="*/ 359611267 h 21600"/>
              <a:gd name="T62" fmla="*/ 2147483647 w 21600"/>
              <a:gd name="T63" fmla="*/ 245035739 h 21600"/>
              <a:gd name="T64" fmla="*/ 2147483647 w 21600"/>
              <a:gd name="T65" fmla="*/ 482658754 h 21600"/>
              <a:gd name="T66" fmla="*/ 2147483647 w 21600"/>
              <a:gd name="T67" fmla="*/ 710539155 h 21600"/>
              <a:gd name="T68" fmla="*/ 2147483647 w 21600"/>
              <a:gd name="T69" fmla="*/ 238512269 h 21600"/>
              <a:gd name="T70" fmla="*/ 2147483647 w 21600"/>
              <a:gd name="T71" fmla="*/ 386550130 h 21600"/>
              <a:gd name="T72" fmla="*/ 2147483647 w 21600"/>
              <a:gd name="T73" fmla="*/ 290400434 h 21600"/>
              <a:gd name="T74" fmla="*/ 2147483647 w 21600"/>
              <a:gd name="T75" fmla="*/ 415056069 h 21600"/>
              <a:gd name="T76" fmla="*/ 2147483647 w 21600"/>
              <a:gd name="T77" fmla="*/ 544753284 h 21600"/>
              <a:gd name="T78" fmla="*/ 2147483647 w 21600"/>
              <a:gd name="T79" fmla="*/ 589991905 h 21600"/>
              <a:gd name="T80" fmla="*/ 2147483647 w 21600"/>
              <a:gd name="T81" fmla="*/ 201067773 h 21600"/>
              <a:gd name="T82" fmla="*/ 2147483647 w 21600"/>
              <a:gd name="T83" fmla="*/ 231736294 h 21600"/>
              <a:gd name="T84" fmla="*/ 2147483647 w 21600"/>
              <a:gd name="T85" fmla="*/ 241690339 h 21600"/>
              <a:gd name="T86" fmla="*/ 2147483647 w 21600"/>
              <a:gd name="T87" fmla="*/ 501633500 h 21600"/>
              <a:gd name="T88" fmla="*/ 2147483647 w 21600"/>
              <a:gd name="T89" fmla="*/ 202171109 h 21600"/>
              <a:gd name="T90" fmla="*/ 2147483647 w 21600"/>
              <a:gd name="T91" fmla="*/ 34859246 h 21600"/>
              <a:gd name="T92" fmla="*/ 2147483647 w 21600"/>
              <a:gd name="T93" fmla="*/ 161040897 h 21600"/>
              <a:gd name="T94" fmla="*/ 2147483647 w 21600"/>
              <a:gd name="T95" fmla="*/ 209369568 h 21600"/>
              <a:gd name="T96" fmla="*/ 2147483647 w 21600"/>
              <a:gd name="T97" fmla="*/ 245966066 h 21600"/>
              <a:gd name="T98" fmla="*/ 2147483647 w 21600"/>
              <a:gd name="T99" fmla="*/ 501592243 h 21600"/>
              <a:gd name="T100" fmla="*/ 2147483647 w 21600"/>
              <a:gd name="T101" fmla="*/ 239486513 h 21600"/>
              <a:gd name="T102" fmla="*/ 2147483647 w 21600"/>
              <a:gd name="T103" fmla="*/ 497651349 h 21600"/>
              <a:gd name="T104" fmla="*/ 2147483647 w 21600"/>
              <a:gd name="T105" fmla="*/ 415522655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rgbClr val="003346"/>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sp>
        <p:nvSpPr>
          <p:cNvPr id="6148" name="Rectangle 13"/>
          <p:cNvSpPr>
            <a:spLocks/>
          </p:cNvSpPr>
          <p:nvPr/>
        </p:nvSpPr>
        <p:spPr bwMode="auto">
          <a:xfrm rot="10800000">
            <a:off x="7164292" y="6332538"/>
            <a:ext cx="864577" cy="49212"/>
          </a:xfrm>
          <a:prstGeom prst="rect">
            <a:avLst/>
          </a:prstGeom>
          <a:solidFill>
            <a:srgbClr val="156273"/>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p>
        </p:txBody>
      </p:sp>
      <p:sp>
        <p:nvSpPr>
          <p:cNvPr id="6149" name="Rectangle 12"/>
          <p:cNvSpPr>
            <a:spLocks/>
          </p:cNvSpPr>
          <p:nvPr/>
        </p:nvSpPr>
        <p:spPr bwMode="auto">
          <a:xfrm rot="10800000">
            <a:off x="8015680" y="6332538"/>
            <a:ext cx="1122485" cy="49212"/>
          </a:xfrm>
          <a:prstGeom prst="rect">
            <a:avLst/>
          </a:prstGeom>
          <a:solidFill>
            <a:srgbClr val="115362"/>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p>
        </p:txBody>
      </p:sp>
      <p:sp>
        <p:nvSpPr>
          <p:cNvPr id="6150" name="Rectangle 14"/>
          <p:cNvSpPr>
            <a:spLocks/>
          </p:cNvSpPr>
          <p:nvPr/>
        </p:nvSpPr>
        <p:spPr bwMode="auto">
          <a:xfrm rot="10800000">
            <a:off x="6268916" y="6332538"/>
            <a:ext cx="895350" cy="49212"/>
          </a:xfrm>
          <a:prstGeom prst="rect">
            <a:avLst/>
          </a:prstGeom>
          <a:solidFill>
            <a:srgbClr val="1C849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p>
        </p:txBody>
      </p:sp>
      <p:sp>
        <p:nvSpPr>
          <p:cNvPr id="6151" name="Rectangle 15"/>
          <p:cNvSpPr>
            <a:spLocks/>
          </p:cNvSpPr>
          <p:nvPr/>
        </p:nvSpPr>
        <p:spPr bwMode="auto">
          <a:xfrm rot="10800000">
            <a:off x="-5857" y="6332538"/>
            <a:ext cx="6274777" cy="49212"/>
          </a:xfrm>
          <a:prstGeom prst="rect">
            <a:avLst/>
          </a:prstGeom>
          <a:solidFill>
            <a:srgbClr val="29C6D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p>
        </p:txBody>
      </p:sp>
      <p:sp>
        <p:nvSpPr>
          <p:cNvPr id="14"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smtClean="0"/>
              <a:pPr/>
              <a:t>‹#›</a:t>
            </a:fld>
            <a:endParaRPr lang="en-GB" dirty="0"/>
          </a:p>
        </p:txBody>
      </p:sp>
      <p:grpSp>
        <p:nvGrpSpPr>
          <p:cNvPr id="11" name="Grupo 10"/>
          <p:cNvGrpSpPr/>
          <p:nvPr userDrawn="1"/>
        </p:nvGrpSpPr>
        <p:grpSpPr>
          <a:xfrm>
            <a:off x="58864" y="6464175"/>
            <a:ext cx="2103461" cy="359735"/>
            <a:chOff x="58864" y="6464175"/>
            <a:chExt cx="2103461" cy="359735"/>
          </a:xfrm>
        </p:grpSpPr>
        <p:grpSp>
          <p:nvGrpSpPr>
            <p:cNvPr id="12" name="Group 4"/>
            <p:cNvGrpSpPr>
              <a:grpSpLocks/>
            </p:cNvGrpSpPr>
            <p:nvPr userDrawn="1"/>
          </p:nvGrpSpPr>
          <p:grpSpPr bwMode="auto">
            <a:xfrm>
              <a:off x="179512" y="6464175"/>
              <a:ext cx="888250" cy="136799"/>
              <a:chOff x="-14" y="12"/>
              <a:chExt cx="605" cy="99"/>
            </a:xfrm>
          </p:grpSpPr>
          <p:sp>
            <p:nvSpPr>
              <p:cNvPr id="15" name="AutoShape 2"/>
              <p:cNvSpPr>
                <a:spLocks/>
              </p:cNvSpPr>
              <p:nvPr/>
            </p:nvSpPr>
            <p:spPr bwMode="auto">
              <a:xfrm>
                <a:off x="-14" y="12"/>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sp>
            <p:nvSpPr>
              <p:cNvPr id="16"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21600"/>
                    </a:moveTo>
                    <a:lnTo>
                      <a:pt x="870" y="0"/>
                    </a:lnTo>
                    <a:lnTo>
                      <a:pt x="21600" y="0"/>
                    </a:lnTo>
                    <a:lnTo>
                      <a:pt x="20730" y="21600"/>
                    </a:lnTo>
                    <a:lnTo>
                      <a:pt x="0" y="21600"/>
                    </a:lnTo>
                    <a:close/>
                    <a:moveTo>
                      <a:pt x="0" y="21600"/>
                    </a:moveTo>
                  </a:path>
                </a:pathLst>
              </a:custGeom>
              <a:solidFill>
                <a:srgbClr val="7DFE9D"/>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grpSp>
        <p:sp>
          <p:nvSpPr>
            <p:cNvPr id="13" name="22 CuadroTexto"/>
            <p:cNvSpPr txBox="1"/>
            <p:nvPr userDrawn="1"/>
          </p:nvSpPr>
          <p:spPr>
            <a:xfrm>
              <a:off x="58864" y="6577689"/>
              <a:ext cx="2103461" cy="246221"/>
            </a:xfrm>
            <a:prstGeom prst="rect">
              <a:avLst/>
            </a:prstGeom>
            <a:noFill/>
          </p:spPr>
          <p:txBody>
            <a:bodyPr wrap="none" rtlCol="0">
              <a:spAutoFit/>
            </a:bodyPr>
            <a:lstStyle/>
            <a:p>
              <a:r>
                <a:rPr lang="en-US" sz="1000" b="0" i="1" noProof="0" dirty="0" smtClean="0">
                  <a:solidFill>
                    <a:schemeClr val="accent5">
                      <a:lumMod val="75000"/>
                    </a:schemeClr>
                  </a:solidFill>
                  <a:latin typeface="Arial" panose="020B0604020202020204" pitchFamily="34" charset="0"/>
                  <a:cs typeface="Arial" panose="020B0604020202020204" pitchFamily="34" charset="0"/>
                </a:rPr>
                <a:t>DISCOVER</a:t>
              </a:r>
              <a:r>
                <a:rPr lang="en-US" sz="1000" b="0" i="1" dirty="0" smtClean="0">
                  <a:solidFill>
                    <a:schemeClr val="accent5">
                      <a:lumMod val="75000"/>
                    </a:schemeClr>
                  </a:solidFill>
                  <a:latin typeface="Arial" panose="020B0604020202020204" pitchFamily="34" charset="0"/>
                  <a:cs typeface="Arial" panose="020B0604020202020204" pitchFamily="34" charset="0"/>
                </a:rPr>
                <a:t>, DISRUPT, DELIVER</a:t>
              </a:r>
              <a:endParaRPr lang="en-US" sz="1000" b="0" i="1" dirty="0">
                <a:solidFill>
                  <a:schemeClr val="accent5">
                    <a:lumMod val="7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581005966"/>
      </p:ext>
    </p:extLst>
  </p:cSld>
  <p:clrMap bg1="lt1" tx1="dk1" bg2="lt2" tx2="dk2" accent1="accent1" accent2="accent2" accent3="accent3" accent4="accent4" accent5="accent5" accent6="accent6" hlink="hlink" folHlink="folHlink"/>
  <p:sldLayoutIdLst>
    <p:sldLayoutId id="2147483654" r:id="rId1"/>
    <p:sldLayoutId id="2147483805" r:id="rId2"/>
    <p:sldLayoutId id="2147483806" r:id="rId3"/>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800">
          <a:solidFill>
            <a:srgbClr val="17B4C6"/>
          </a:solidFill>
          <a:latin typeface="+mj-lt"/>
          <a:ea typeface="+mj-ea"/>
          <a:cs typeface="+mj-cs"/>
          <a:sym typeface="Gill Sans" pitchFamily="122"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1pPr>
      <a:lvl2pPr marL="1333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2pPr>
      <a:lvl3pPr marL="1778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3pPr>
      <a:lvl4pPr marL="2222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4pPr>
      <a:lvl5pPr marL="2667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5pPr>
      <a:lvl6pPr marL="31242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6pPr>
      <a:lvl7pPr marL="35814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7pPr>
      <a:lvl8pPr marL="40386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8pPr>
      <a:lvl9pPr marL="44958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47" name="AutoShape 5"/>
          <p:cNvSpPr>
            <a:spLocks/>
          </p:cNvSpPr>
          <p:nvPr/>
        </p:nvSpPr>
        <p:spPr bwMode="auto">
          <a:xfrm>
            <a:off x="8028844" y="6502400"/>
            <a:ext cx="830873" cy="249238"/>
          </a:xfrm>
          <a:custGeom>
            <a:avLst/>
            <a:gdLst>
              <a:gd name="T0" fmla="*/ 0 w 21600"/>
              <a:gd name="T1" fmla="*/ 892206852 h 21600"/>
              <a:gd name="T2" fmla="*/ 2147483647 w 21600"/>
              <a:gd name="T3" fmla="*/ 141473318 h 21600"/>
              <a:gd name="T4" fmla="*/ 2147483647 w 21600"/>
              <a:gd name="T5" fmla="*/ 96575026 h 21600"/>
              <a:gd name="T6" fmla="*/ 2147483647 w 21600"/>
              <a:gd name="T7" fmla="*/ 275193756 h 21600"/>
              <a:gd name="T8" fmla="*/ 2147483647 w 21600"/>
              <a:gd name="T9" fmla="*/ 59300706 h 21600"/>
              <a:gd name="T10" fmla="*/ 2147483647 w 21600"/>
              <a:gd name="T11" fmla="*/ 702363606 h 21600"/>
              <a:gd name="T12" fmla="*/ 2147483647 w 21600"/>
              <a:gd name="T13" fmla="*/ 341566847 h 21600"/>
              <a:gd name="T14" fmla="*/ 2147483647 w 21600"/>
              <a:gd name="T15" fmla="*/ 6989884 h 21600"/>
              <a:gd name="T16" fmla="*/ 2147483647 w 21600"/>
              <a:gd name="T17" fmla="*/ 12835521 h 21600"/>
              <a:gd name="T18" fmla="*/ 2147483647 w 21600"/>
              <a:gd name="T19" fmla="*/ 406713202 h 21600"/>
              <a:gd name="T20" fmla="*/ 2147483647 w 21600"/>
              <a:gd name="T21" fmla="*/ 446866336 h 21600"/>
              <a:gd name="T22" fmla="*/ 2147483647 w 21600"/>
              <a:gd name="T23" fmla="*/ 193528986 h 21600"/>
              <a:gd name="T24" fmla="*/ 2147483647 w 21600"/>
              <a:gd name="T25" fmla="*/ 592022721 h 21600"/>
              <a:gd name="T26" fmla="*/ 2147483647 w 21600"/>
              <a:gd name="T27" fmla="*/ 635735349 h 21600"/>
              <a:gd name="T28" fmla="*/ 2147483647 w 21600"/>
              <a:gd name="T29" fmla="*/ 421156883 h 21600"/>
              <a:gd name="T30" fmla="*/ 2147483647 w 21600"/>
              <a:gd name="T31" fmla="*/ 88484663 h 21600"/>
              <a:gd name="T32" fmla="*/ 2147483647 w 21600"/>
              <a:gd name="T33" fmla="*/ 232540374 h 21600"/>
              <a:gd name="T34" fmla="*/ 2147483647 w 21600"/>
              <a:gd name="T35" fmla="*/ 232540374 h 21600"/>
              <a:gd name="T36" fmla="*/ 2147483647 w 21600"/>
              <a:gd name="T37" fmla="*/ 528997692 h 21600"/>
              <a:gd name="T38" fmla="*/ 2147483647 w 21600"/>
              <a:gd name="T39" fmla="*/ 523871306 h 21600"/>
              <a:gd name="T40" fmla="*/ 2147483647 w 21600"/>
              <a:gd name="T41" fmla="*/ 493754362 h 21600"/>
              <a:gd name="T42" fmla="*/ 2147483647 w 21600"/>
              <a:gd name="T43" fmla="*/ 631585869 h 21600"/>
              <a:gd name="T44" fmla="*/ 2147483647 w 21600"/>
              <a:gd name="T45" fmla="*/ 201322939 h 21600"/>
              <a:gd name="T46" fmla="*/ 2147483647 w 21600"/>
              <a:gd name="T47" fmla="*/ 482658754 h 21600"/>
              <a:gd name="T48" fmla="*/ 2147483647 w 21600"/>
              <a:gd name="T49" fmla="*/ 231014554 h 21600"/>
              <a:gd name="T50" fmla="*/ 2147483647 w 21600"/>
              <a:gd name="T51" fmla="*/ 318228550 h 21600"/>
              <a:gd name="T52" fmla="*/ 2147483647 w 21600"/>
              <a:gd name="T53" fmla="*/ 277015998 h 21600"/>
              <a:gd name="T54" fmla="*/ 2147483647 w 21600"/>
              <a:gd name="T55" fmla="*/ 522811888 h 21600"/>
              <a:gd name="T56" fmla="*/ 2147483647 w 21600"/>
              <a:gd name="T57" fmla="*/ 219323441 h 21600"/>
              <a:gd name="T58" fmla="*/ 2147483647 w 21600"/>
              <a:gd name="T59" fmla="*/ 536451489 h 21600"/>
              <a:gd name="T60" fmla="*/ 2147483647 w 21600"/>
              <a:gd name="T61" fmla="*/ 359611267 h 21600"/>
              <a:gd name="T62" fmla="*/ 2147483647 w 21600"/>
              <a:gd name="T63" fmla="*/ 245035739 h 21600"/>
              <a:gd name="T64" fmla="*/ 2147483647 w 21600"/>
              <a:gd name="T65" fmla="*/ 482658754 h 21600"/>
              <a:gd name="T66" fmla="*/ 2147483647 w 21600"/>
              <a:gd name="T67" fmla="*/ 710539155 h 21600"/>
              <a:gd name="T68" fmla="*/ 2147483647 w 21600"/>
              <a:gd name="T69" fmla="*/ 238512269 h 21600"/>
              <a:gd name="T70" fmla="*/ 2147483647 w 21600"/>
              <a:gd name="T71" fmla="*/ 386550130 h 21600"/>
              <a:gd name="T72" fmla="*/ 2147483647 w 21600"/>
              <a:gd name="T73" fmla="*/ 290400434 h 21600"/>
              <a:gd name="T74" fmla="*/ 2147483647 w 21600"/>
              <a:gd name="T75" fmla="*/ 415056069 h 21600"/>
              <a:gd name="T76" fmla="*/ 2147483647 w 21600"/>
              <a:gd name="T77" fmla="*/ 544753284 h 21600"/>
              <a:gd name="T78" fmla="*/ 2147483647 w 21600"/>
              <a:gd name="T79" fmla="*/ 589991905 h 21600"/>
              <a:gd name="T80" fmla="*/ 2147483647 w 21600"/>
              <a:gd name="T81" fmla="*/ 201067773 h 21600"/>
              <a:gd name="T82" fmla="*/ 2147483647 w 21600"/>
              <a:gd name="T83" fmla="*/ 231736294 h 21600"/>
              <a:gd name="T84" fmla="*/ 2147483647 w 21600"/>
              <a:gd name="T85" fmla="*/ 241690339 h 21600"/>
              <a:gd name="T86" fmla="*/ 2147483647 w 21600"/>
              <a:gd name="T87" fmla="*/ 501633500 h 21600"/>
              <a:gd name="T88" fmla="*/ 2147483647 w 21600"/>
              <a:gd name="T89" fmla="*/ 202171109 h 21600"/>
              <a:gd name="T90" fmla="*/ 2147483647 w 21600"/>
              <a:gd name="T91" fmla="*/ 34859246 h 21600"/>
              <a:gd name="T92" fmla="*/ 2147483647 w 21600"/>
              <a:gd name="T93" fmla="*/ 161040897 h 21600"/>
              <a:gd name="T94" fmla="*/ 2147483647 w 21600"/>
              <a:gd name="T95" fmla="*/ 209369568 h 21600"/>
              <a:gd name="T96" fmla="*/ 2147483647 w 21600"/>
              <a:gd name="T97" fmla="*/ 245966066 h 21600"/>
              <a:gd name="T98" fmla="*/ 2147483647 w 21600"/>
              <a:gd name="T99" fmla="*/ 501592243 h 21600"/>
              <a:gd name="T100" fmla="*/ 2147483647 w 21600"/>
              <a:gd name="T101" fmla="*/ 239486513 h 21600"/>
              <a:gd name="T102" fmla="*/ 2147483647 w 21600"/>
              <a:gd name="T103" fmla="*/ 497651349 h 21600"/>
              <a:gd name="T104" fmla="*/ 2147483647 w 21600"/>
              <a:gd name="T105" fmla="*/ 415522655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rgbClr val="003346"/>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solidFill>
                <a:srgbClr val="003245"/>
              </a:solidFill>
            </a:endParaRPr>
          </a:p>
        </p:txBody>
      </p:sp>
      <p:sp>
        <p:nvSpPr>
          <p:cNvPr id="6148" name="Rectangle 13"/>
          <p:cNvSpPr>
            <a:spLocks/>
          </p:cNvSpPr>
          <p:nvPr/>
        </p:nvSpPr>
        <p:spPr bwMode="auto">
          <a:xfrm rot="10800000">
            <a:off x="7164292" y="6332538"/>
            <a:ext cx="864577" cy="49212"/>
          </a:xfrm>
          <a:prstGeom prst="rect">
            <a:avLst/>
          </a:prstGeom>
          <a:solidFill>
            <a:srgbClr val="156273"/>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49" name="Rectangle 12"/>
          <p:cNvSpPr>
            <a:spLocks/>
          </p:cNvSpPr>
          <p:nvPr/>
        </p:nvSpPr>
        <p:spPr bwMode="auto">
          <a:xfrm rot="10800000">
            <a:off x="8015680" y="6332538"/>
            <a:ext cx="1122485" cy="49212"/>
          </a:xfrm>
          <a:prstGeom prst="rect">
            <a:avLst/>
          </a:prstGeom>
          <a:solidFill>
            <a:srgbClr val="115362"/>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0" name="Rectangle 14"/>
          <p:cNvSpPr>
            <a:spLocks/>
          </p:cNvSpPr>
          <p:nvPr/>
        </p:nvSpPr>
        <p:spPr bwMode="auto">
          <a:xfrm rot="10800000">
            <a:off x="6268916" y="6332538"/>
            <a:ext cx="895350" cy="49212"/>
          </a:xfrm>
          <a:prstGeom prst="rect">
            <a:avLst/>
          </a:prstGeom>
          <a:solidFill>
            <a:srgbClr val="1C849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1" name="Rectangle 15"/>
          <p:cNvSpPr>
            <a:spLocks/>
          </p:cNvSpPr>
          <p:nvPr/>
        </p:nvSpPr>
        <p:spPr bwMode="auto">
          <a:xfrm rot="10800000">
            <a:off x="-5857" y="6332538"/>
            <a:ext cx="6274777" cy="49212"/>
          </a:xfrm>
          <a:prstGeom prst="rect">
            <a:avLst/>
          </a:prstGeom>
          <a:solidFill>
            <a:srgbClr val="29C6D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14"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
        <p:nvSpPr>
          <p:cNvPr id="11" name="AutoShape 1"/>
          <p:cNvSpPr>
            <a:spLocks/>
          </p:cNvSpPr>
          <p:nvPr userDrawn="1"/>
        </p:nvSpPr>
        <p:spPr bwMode="auto">
          <a:xfrm>
            <a:off x="4812407" y="46567"/>
            <a:ext cx="4287838" cy="701675"/>
          </a:xfrm>
          <a:custGeom>
            <a:avLst/>
            <a:gdLst>
              <a:gd name="T0" fmla="*/ 2458 w 21600"/>
              <a:gd name="T1" fmla="*/ 2391 h 21600"/>
              <a:gd name="T2" fmla="*/ 2237 w 21600"/>
              <a:gd name="T3" fmla="*/ 15634 h 21600"/>
              <a:gd name="T4" fmla="*/ 0 w 21600"/>
              <a:gd name="T5" fmla="*/ 18315 h 21600"/>
              <a:gd name="T6" fmla="*/ 1376 w 21600"/>
              <a:gd name="T7" fmla="*/ 341 h 21600"/>
              <a:gd name="T8" fmla="*/ 971 w 21600"/>
              <a:gd name="T9" fmla="*/ 15319 h 21600"/>
              <a:gd name="T10" fmla="*/ 2028 w 21600"/>
              <a:gd name="T11" fmla="*/ 7436 h 21600"/>
              <a:gd name="T12" fmla="*/ 1359 w 21600"/>
              <a:gd name="T13" fmla="*/ 3337 h 21600"/>
              <a:gd name="T14" fmla="*/ 750 w 21600"/>
              <a:gd name="T15" fmla="*/ 15319 h 21600"/>
              <a:gd name="T16" fmla="*/ 3591 w 21600"/>
              <a:gd name="T17" fmla="*/ 18315 h 21600"/>
              <a:gd name="T18" fmla="*/ 3438 w 21600"/>
              <a:gd name="T19" fmla="*/ 341 h 21600"/>
              <a:gd name="T20" fmla="*/ 5406 w 21600"/>
              <a:gd name="T21" fmla="*/ 11010 h 21600"/>
              <a:gd name="T22" fmla="*/ 5176 w 21600"/>
              <a:gd name="T23" fmla="*/ 15529 h 21600"/>
              <a:gd name="T24" fmla="*/ 4196 w 21600"/>
              <a:gd name="T25" fmla="*/ 17606 h 21600"/>
              <a:gd name="T26" fmla="*/ 6088 w 21600"/>
              <a:gd name="T27" fmla="*/ 17185 h 21600"/>
              <a:gd name="T28" fmla="*/ 5832 w 21600"/>
              <a:gd name="T29" fmla="*/ 8014 h 21600"/>
              <a:gd name="T30" fmla="*/ 5151 w 21600"/>
              <a:gd name="T31" fmla="*/ 5071 h 21600"/>
              <a:gd name="T32" fmla="*/ 6373 w 21600"/>
              <a:gd name="T33" fmla="*/ 3836 h 21600"/>
              <a:gd name="T34" fmla="*/ 5700 w 21600"/>
              <a:gd name="T35" fmla="*/ 0 h 21600"/>
              <a:gd name="T36" fmla="*/ 4516 w 21600"/>
              <a:gd name="T37" fmla="*/ 5570 h 21600"/>
              <a:gd name="T38" fmla="*/ 5406 w 21600"/>
              <a:gd name="T39" fmla="*/ 11010 h 21600"/>
              <a:gd name="T40" fmla="*/ 8384 w 21600"/>
              <a:gd name="T41" fmla="*/ 0 h 21600"/>
              <a:gd name="T42" fmla="*/ 6787 w 21600"/>
              <a:gd name="T43" fmla="*/ 11562 h 21600"/>
              <a:gd name="T44" fmla="*/ 8708 w 21600"/>
              <a:gd name="T45" fmla="*/ 18131 h 21600"/>
              <a:gd name="T46" fmla="*/ 8137 w 21600"/>
              <a:gd name="T47" fmla="*/ 15504 h 21600"/>
              <a:gd name="T48" fmla="*/ 7473 w 21600"/>
              <a:gd name="T49" fmla="*/ 11324 h 21600"/>
              <a:gd name="T50" fmla="*/ 8431 w 21600"/>
              <a:gd name="T51" fmla="*/ 3179 h 21600"/>
              <a:gd name="T52" fmla="*/ 9194 w 21600"/>
              <a:gd name="T53" fmla="*/ 867 h 21600"/>
              <a:gd name="T54" fmla="*/ 9569 w 21600"/>
              <a:gd name="T55" fmla="*/ 4257 h 21600"/>
              <a:gd name="T56" fmla="*/ 11976 w 21600"/>
              <a:gd name="T57" fmla="*/ 6884 h 21600"/>
              <a:gd name="T58" fmla="*/ 10395 w 21600"/>
              <a:gd name="T59" fmla="*/ 18683 h 21600"/>
              <a:gd name="T60" fmla="*/ 10169 w 21600"/>
              <a:gd name="T61" fmla="*/ 5860 h 21600"/>
              <a:gd name="T62" fmla="*/ 10446 w 21600"/>
              <a:gd name="T63" fmla="*/ 15477 h 21600"/>
              <a:gd name="T64" fmla="*/ 11290 w 21600"/>
              <a:gd name="T65" fmla="*/ 6884 h 21600"/>
              <a:gd name="T66" fmla="*/ 10169 w 21600"/>
              <a:gd name="T67" fmla="*/ 5860 h 21600"/>
              <a:gd name="T68" fmla="*/ 12811 w 21600"/>
              <a:gd name="T69" fmla="*/ 18315 h 21600"/>
              <a:gd name="T70" fmla="*/ 15009 w 21600"/>
              <a:gd name="T71" fmla="*/ 341 h 21600"/>
              <a:gd name="T72" fmla="*/ 13314 w 21600"/>
              <a:gd name="T73" fmla="*/ 13585 h 21600"/>
              <a:gd name="T74" fmla="*/ 12308 w 21600"/>
              <a:gd name="T75" fmla="*/ 341 h 21600"/>
              <a:gd name="T76" fmla="*/ 16726 w 21600"/>
              <a:gd name="T77" fmla="*/ 10747 h 21600"/>
              <a:gd name="T78" fmla="*/ 15815 w 21600"/>
              <a:gd name="T79" fmla="*/ 7673 h 21600"/>
              <a:gd name="T80" fmla="*/ 17191 w 21600"/>
              <a:gd name="T81" fmla="*/ 3311 h 21600"/>
              <a:gd name="T82" fmla="*/ 15359 w 21600"/>
              <a:gd name="T83" fmla="*/ 341 h 21600"/>
              <a:gd name="T84" fmla="*/ 16837 w 21600"/>
              <a:gd name="T85" fmla="*/ 18315 h 21600"/>
              <a:gd name="T86" fmla="*/ 15597 w 21600"/>
              <a:gd name="T87" fmla="*/ 15346 h 21600"/>
              <a:gd name="T88" fmla="*/ 19700 w 21600"/>
              <a:gd name="T89" fmla="*/ 8803 h 21600"/>
              <a:gd name="T90" fmla="*/ 19628 w 21600"/>
              <a:gd name="T91" fmla="*/ 18315 h 21600"/>
              <a:gd name="T92" fmla="*/ 18575 w 21600"/>
              <a:gd name="T93" fmla="*/ 11799 h 21600"/>
              <a:gd name="T94" fmla="*/ 18000 w 21600"/>
              <a:gd name="T95" fmla="*/ 18315 h 21600"/>
              <a:gd name="T96" fmla="*/ 17847 w 21600"/>
              <a:gd name="T97" fmla="*/ 341 h 21600"/>
              <a:gd name="T98" fmla="*/ 19611 w 21600"/>
              <a:gd name="T99" fmla="*/ 1655 h 21600"/>
              <a:gd name="T100" fmla="*/ 19700 w 21600"/>
              <a:gd name="T101" fmla="*/ 8803 h 21600"/>
              <a:gd name="T102" fmla="*/ 18524 w 21600"/>
              <a:gd name="T103" fmla="*/ 8830 h 21600"/>
              <a:gd name="T104" fmla="*/ 19197 w 21600"/>
              <a:gd name="T105" fmla="*/ 5492 h 21600"/>
              <a:gd name="T106" fmla="*/ 18758 w 21600"/>
              <a:gd name="T107" fmla="*/ 3311 h 21600"/>
              <a:gd name="T108" fmla="*/ 18268 w 21600"/>
              <a:gd name="T109" fmla="*/ 8830 h 21600"/>
              <a:gd name="T110" fmla="*/ 21600 w 21600"/>
              <a:gd name="T111" fmla="*/ 19051 h 21600"/>
              <a:gd name="T112" fmla="*/ 19696 w 21600"/>
              <a:gd name="T113" fmla="*/ 21600 h 21600"/>
              <a:gd name="T114" fmla="*/ 21523 w 21600"/>
              <a:gd name="T115"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00" h="21600">
                <a:moveTo>
                  <a:pt x="1376" y="341"/>
                </a:moveTo>
                <a:cubicBezTo>
                  <a:pt x="1811" y="341"/>
                  <a:pt x="2215" y="815"/>
                  <a:pt x="2458" y="2391"/>
                </a:cubicBezTo>
                <a:cubicBezTo>
                  <a:pt x="2650" y="3626"/>
                  <a:pt x="2714" y="5334"/>
                  <a:pt x="2714" y="7357"/>
                </a:cubicBezTo>
                <a:cubicBezTo>
                  <a:pt x="2714" y="10564"/>
                  <a:pt x="2556" y="13612"/>
                  <a:pt x="2237" y="15634"/>
                </a:cubicBezTo>
                <a:cubicBezTo>
                  <a:pt x="1900" y="17764"/>
                  <a:pt x="1431" y="18315"/>
                  <a:pt x="903" y="18315"/>
                </a:cubicBezTo>
                <a:lnTo>
                  <a:pt x="0" y="18315"/>
                </a:lnTo>
                <a:lnTo>
                  <a:pt x="511" y="341"/>
                </a:lnTo>
                <a:lnTo>
                  <a:pt x="1376" y="341"/>
                </a:lnTo>
                <a:close/>
                <a:moveTo>
                  <a:pt x="750" y="15319"/>
                </a:moveTo>
                <a:lnTo>
                  <a:pt x="971" y="15319"/>
                </a:lnTo>
                <a:cubicBezTo>
                  <a:pt x="1333" y="15319"/>
                  <a:pt x="1572" y="14768"/>
                  <a:pt x="1760" y="13112"/>
                </a:cubicBezTo>
                <a:cubicBezTo>
                  <a:pt x="1913" y="11745"/>
                  <a:pt x="2028" y="9669"/>
                  <a:pt x="2028" y="7436"/>
                </a:cubicBezTo>
                <a:cubicBezTo>
                  <a:pt x="2028" y="6070"/>
                  <a:pt x="1985" y="5098"/>
                  <a:pt x="1887" y="4415"/>
                </a:cubicBezTo>
                <a:cubicBezTo>
                  <a:pt x="1785" y="3705"/>
                  <a:pt x="1623" y="3337"/>
                  <a:pt x="1359" y="3337"/>
                </a:cubicBezTo>
                <a:lnTo>
                  <a:pt x="1091" y="3337"/>
                </a:lnTo>
                <a:lnTo>
                  <a:pt x="750" y="15319"/>
                </a:lnTo>
                <a:close/>
                <a:moveTo>
                  <a:pt x="2927" y="18315"/>
                </a:moveTo>
                <a:lnTo>
                  <a:pt x="3591" y="18315"/>
                </a:lnTo>
                <a:lnTo>
                  <a:pt x="4103" y="341"/>
                </a:lnTo>
                <a:lnTo>
                  <a:pt x="3438" y="341"/>
                </a:lnTo>
                <a:lnTo>
                  <a:pt x="2927" y="18315"/>
                </a:lnTo>
                <a:close/>
                <a:moveTo>
                  <a:pt x="5406" y="11010"/>
                </a:moveTo>
                <a:cubicBezTo>
                  <a:pt x="5671" y="11667"/>
                  <a:pt x="5777" y="12298"/>
                  <a:pt x="5777" y="13296"/>
                </a:cubicBezTo>
                <a:cubicBezTo>
                  <a:pt x="5777" y="15083"/>
                  <a:pt x="5449" y="15529"/>
                  <a:pt x="5176" y="15529"/>
                </a:cubicBezTo>
                <a:cubicBezTo>
                  <a:pt x="4895" y="15529"/>
                  <a:pt x="4567" y="15109"/>
                  <a:pt x="4329" y="14558"/>
                </a:cubicBezTo>
                <a:lnTo>
                  <a:pt x="4196" y="17606"/>
                </a:lnTo>
                <a:cubicBezTo>
                  <a:pt x="4524" y="18341"/>
                  <a:pt x="4861" y="18682"/>
                  <a:pt x="5172" y="18682"/>
                </a:cubicBezTo>
                <a:cubicBezTo>
                  <a:pt x="5547" y="18682"/>
                  <a:pt x="5862" y="18183"/>
                  <a:pt x="6088" y="17185"/>
                </a:cubicBezTo>
                <a:cubicBezTo>
                  <a:pt x="6331" y="16108"/>
                  <a:pt x="6425" y="14557"/>
                  <a:pt x="6425" y="12876"/>
                </a:cubicBezTo>
                <a:cubicBezTo>
                  <a:pt x="6425" y="10563"/>
                  <a:pt x="6241" y="9039"/>
                  <a:pt x="5832" y="8014"/>
                </a:cubicBezTo>
                <a:lnTo>
                  <a:pt x="5581" y="7384"/>
                </a:lnTo>
                <a:cubicBezTo>
                  <a:pt x="5244" y="6542"/>
                  <a:pt x="5151" y="5859"/>
                  <a:pt x="5151" y="5071"/>
                </a:cubicBezTo>
                <a:cubicBezTo>
                  <a:pt x="5151" y="3731"/>
                  <a:pt x="5394" y="3153"/>
                  <a:pt x="5700" y="3153"/>
                </a:cubicBezTo>
                <a:cubicBezTo>
                  <a:pt x="5909" y="3153"/>
                  <a:pt x="6143" y="3415"/>
                  <a:pt x="6373" y="3836"/>
                </a:cubicBezTo>
                <a:lnTo>
                  <a:pt x="6540" y="946"/>
                </a:lnTo>
                <a:cubicBezTo>
                  <a:pt x="6250" y="341"/>
                  <a:pt x="5986" y="0"/>
                  <a:pt x="5700" y="0"/>
                </a:cubicBezTo>
                <a:cubicBezTo>
                  <a:pt x="5368" y="0"/>
                  <a:pt x="5074" y="473"/>
                  <a:pt x="4870" y="1340"/>
                </a:cubicBezTo>
                <a:cubicBezTo>
                  <a:pt x="4644" y="2285"/>
                  <a:pt x="4516" y="3758"/>
                  <a:pt x="4516" y="5570"/>
                </a:cubicBezTo>
                <a:cubicBezTo>
                  <a:pt x="4516" y="7830"/>
                  <a:pt x="4716" y="9276"/>
                  <a:pt x="5155" y="10379"/>
                </a:cubicBezTo>
                <a:lnTo>
                  <a:pt x="5406" y="11010"/>
                </a:lnTo>
                <a:close/>
                <a:moveTo>
                  <a:pt x="9194" y="867"/>
                </a:moveTo>
                <a:cubicBezTo>
                  <a:pt x="8947" y="368"/>
                  <a:pt x="8678" y="0"/>
                  <a:pt x="8384" y="0"/>
                </a:cubicBezTo>
                <a:cubicBezTo>
                  <a:pt x="7988" y="0"/>
                  <a:pt x="7601" y="605"/>
                  <a:pt x="7298" y="2602"/>
                </a:cubicBezTo>
                <a:cubicBezTo>
                  <a:pt x="6949" y="4914"/>
                  <a:pt x="6787" y="8592"/>
                  <a:pt x="6787" y="11562"/>
                </a:cubicBezTo>
                <a:cubicBezTo>
                  <a:pt x="6787" y="16423"/>
                  <a:pt x="7204" y="18683"/>
                  <a:pt x="7988" y="18683"/>
                </a:cubicBezTo>
                <a:cubicBezTo>
                  <a:pt x="8244" y="18683"/>
                  <a:pt x="8525" y="18446"/>
                  <a:pt x="8708" y="18131"/>
                </a:cubicBezTo>
                <a:lnTo>
                  <a:pt x="8725" y="15135"/>
                </a:lnTo>
                <a:cubicBezTo>
                  <a:pt x="8546" y="15346"/>
                  <a:pt x="8320" y="15504"/>
                  <a:pt x="8137" y="15504"/>
                </a:cubicBezTo>
                <a:cubicBezTo>
                  <a:pt x="7903" y="15504"/>
                  <a:pt x="7711" y="15240"/>
                  <a:pt x="7596" y="14294"/>
                </a:cubicBezTo>
                <a:cubicBezTo>
                  <a:pt x="7502" y="13532"/>
                  <a:pt x="7473" y="12429"/>
                  <a:pt x="7473" y="11324"/>
                </a:cubicBezTo>
                <a:cubicBezTo>
                  <a:pt x="7473" y="9224"/>
                  <a:pt x="7583" y="6884"/>
                  <a:pt x="7733" y="5440"/>
                </a:cubicBezTo>
                <a:cubicBezTo>
                  <a:pt x="7916" y="3652"/>
                  <a:pt x="8163" y="3179"/>
                  <a:pt x="8431" y="3179"/>
                </a:cubicBezTo>
                <a:cubicBezTo>
                  <a:pt x="8644" y="3179"/>
                  <a:pt x="8849" y="3469"/>
                  <a:pt x="9028" y="3784"/>
                </a:cubicBezTo>
                <a:lnTo>
                  <a:pt x="9194" y="867"/>
                </a:lnTo>
                <a:close/>
                <a:moveTo>
                  <a:pt x="9262" y="11799"/>
                </a:moveTo>
                <a:cubicBezTo>
                  <a:pt x="9262" y="9039"/>
                  <a:pt x="9373" y="6333"/>
                  <a:pt x="9569" y="4257"/>
                </a:cubicBezTo>
                <a:cubicBezTo>
                  <a:pt x="9833" y="1472"/>
                  <a:pt x="10255" y="0"/>
                  <a:pt x="10843" y="0"/>
                </a:cubicBezTo>
                <a:cubicBezTo>
                  <a:pt x="11516" y="0"/>
                  <a:pt x="11976" y="2181"/>
                  <a:pt x="11976" y="6884"/>
                </a:cubicBezTo>
                <a:cubicBezTo>
                  <a:pt x="11976" y="9644"/>
                  <a:pt x="11865" y="12350"/>
                  <a:pt x="11669" y="14426"/>
                </a:cubicBezTo>
                <a:cubicBezTo>
                  <a:pt x="11405" y="17211"/>
                  <a:pt x="10983" y="18683"/>
                  <a:pt x="10395" y="18683"/>
                </a:cubicBezTo>
                <a:cubicBezTo>
                  <a:pt x="9722" y="18683"/>
                  <a:pt x="9262" y="16502"/>
                  <a:pt x="9262" y="11799"/>
                </a:cubicBezTo>
                <a:moveTo>
                  <a:pt x="10169" y="5860"/>
                </a:moveTo>
                <a:cubicBezTo>
                  <a:pt x="10029" y="7516"/>
                  <a:pt x="9948" y="9670"/>
                  <a:pt x="9948" y="11799"/>
                </a:cubicBezTo>
                <a:cubicBezTo>
                  <a:pt x="9948" y="14505"/>
                  <a:pt x="10148" y="15477"/>
                  <a:pt x="10446" y="15477"/>
                </a:cubicBezTo>
                <a:cubicBezTo>
                  <a:pt x="10727" y="15477"/>
                  <a:pt x="10928" y="14452"/>
                  <a:pt x="11068" y="12823"/>
                </a:cubicBezTo>
                <a:cubicBezTo>
                  <a:pt x="11209" y="11167"/>
                  <a:pt x="11290" y="9013"/>
                  <a:pt x="11290" y="6884"/>
                </a:cubicBezTo>
                <a:cubicBezTo>
                  <a:pt x="11290" y="4178"/>
                  <a:pt x="11090" y="3206"/>
                  <a:pt x="10791" y="3206"/>
                </a:cubicBezTo>
                <a:cubicBezTo>
                  <a:pt x="10510" y="3206"/>
                  <a:pt x="10310" y="4231"/>
                  <a:pt x="10169" y="5860"/>
                </a:cubicBezTo>
                <a:moveTo>
                  <a:pt x="12308" y="341"/>
                </a:moveTo>
                <a:lnTo>
                  <a:pt x="12811" y="18315"/>
                </a:lnTo>
                <a:lnTo>
                  <a:pt x="13531" y="18315"/>
                </a:lnTo>
                <a:lnTo>
                  <a:pt x="15009" y="341"/>
                </a:lnTo>
                <a:lnTo>
                  <a:pt x="14328" y="341"/>
                </a:lnTo>
                <a:lnTo>
                  <a:pt x="13314" y="13585"/>
                </a:lnTo>
                <a:lnTo>
                  <a:pt x="12994" y="341"/>
                </a:lnTo>
                <a:lnTo>
                  <a:pt x="12308" y="341"/>
                </a:lnTo>
                <a:close/>
                <a:moveTo>
                  <a:pt x="15725" y="10747"/>
                </a:moveTo>
                <a:lnTo>
                  <a:pt x="16726" y="10747"/>
                </a:lnTo>
                <a:lnTo>
                  <a:pt x="16815" y="7673"/>
                </a:lnTo>
                <a:lnTo>
                  <a:pt x="15815" y="7673"/>
                </a:lnTo>
                <a:lnTo>
                  <a:pt x="15938" y="3311"/>
                </a:lnTo>
                <a:lnTo>
                  <a:pt x="17191" y="3311"/>
                </a:lnTo>
                <a:lnTo>
                  <a:pt x="17327" y="341"/>
                </a:lnTo>
                <a:lnTo>
                  <a:pt x="15359" y="341"/>
                </a:lnTo>
                <a:lnTo>
                  <a:pt x="14847" y="18315"/>
                </a:lnTo>
                <a:lnTo>
                  <a:pt x="16837" y="18315"/>
                </a:lnTo>
                <a:lnTo>
                  <a:pt x="16918" y="15346"/>
                </a:lnTo>
                <a:lnTo>
                  <a:pt x="15597" y="15346"/>
                </a:lnTo>
                <a:lnTo>
                  <a:pt x="15725" y="10747"/>
                </a:lnTo>
                <a:close/>
                <a:moveTo>
                  <a:pt x="19700" y="8803"/>
                </a:moveTo>
                <a:cubicBezTo>
                  <a:pt x="19589" y="9748"/>
                  <a:pt x="19410" y="10537"/>
                  <a:pt x="19176" y="11115"/>
                </a:cubicBezTo>
                <a:lnTo>
                  <a:pt x="19628" y="18315"/>
                </a:lnTo>
                <a:lnTo>
                  <a:pt x="18916" y="18315"/>
                </a:lnTo>
                <a:lnTo>
                  <a:pt x="18575" y="11799"/>
                </a:lnTo>
                <a:lnTo>
                  <a:pt x="18183" y="11799"/>
                </a:lnTo>
                <a:lnTo>
                  <a:pt x="18000" y="18315"/>
                </a:lnTo>
                <a:lnTo>
                  <a:pt x="17336" y="18315"/>
                </a:lnTo>
                <a:lnTo>
                  <a:pt x="17847" y="341"/>
                </a:lnTo>
                <a:lnTo>
                  <a:pt x="18839" y="341"/>
                </a:lnTo>
                <a:cubicBezTo>
                  <a:pt x="19201" y="341"/>
                  <a:pt x="19453" y="815"/>
                  <a:pt x="19611" y="1655"/>
                </a:cubicBezTo>
                <a:cubicBezTo>
                  <a:pt x="19785" y="2575"/>
                  <a:pt x="19858" y="3915"/>
                  <a:pt x="19858" y="5466"/>
                </a:cubicBezTo>
                <a:cubicBezTo>
                  <a:pt x="19858" y="6753"/>
                  <a:pt x="19806" y="7883"/>
                  <a:pt x="19700" y="8803"/>
                </a:cubicBezTo>
                <a:moveTo>
                  <a:pt x="18268" y="8830"/>
                </a:moveTo>
                <a:lnTo>
                  <a:pt x="18524" y="8830"/>
                </a:lnTo>
                <a:cubicBezTo>
                  <a:pt x="18729" y="8830"/>
                  <a:pt x="18912" y="8592"/>
                  <a:pt x="19035" y="7883"/>
                </a:cubicBezTo>
                <a:cubicBezTo>
                  <a:pt x="19133" y="7331"/>
                  <a:pt x="19197" y="6437"/>
                  <a:pt x="19197" y="5492"/>
                </a:cubicBezTo>
                <a:cubicBezTo>
                  <a:pt x="19197" y="4887"/>
                  <a:pt x="19172" y="4336"/>
                  <a:pt x="19112" y="3968"/>
                </a:cubicBezTo>
                <a:cubicBezTo>
                  <a:pt x="19044" y="3548"/>
                  <a:pt x="18937" y="3311"/>
                  <a:pt x="18758" y="3311"/>
                </a:cubicBezTo>
                <a:lnTo>
                  <a:pt x="18426" y="3311"/>
                </a:lnTo>
                <a:lnTo>
                  <a:pt x="18268" y="8830"/>
                </a:lnTo>
                <a:close/>
                <a:moveTo>
                  <a:pt x="21523" y="21600"/>
                </a:moveTo>
                <a:lnTo>
                  <a:pt x="21600" y="19051"/>
                </a:lnTo>
                <a:lnTo>
                  <a:pt x="19772" y="19051"/>
                </a:lnTo>
                <a:lnTo>
                  <a:pt x="19696" y="21600"/>
                </a:lnTo>
                <a:lnTo>
                  <a:pt x="21523" y="21600"/>
                </a:lnTo>
                <a:close/>
                <a:moveTo>
                  <a:pt x="21523" y="21600"/>
                </a:moveTo>
              </a:path>
            </a:pathLst>
          </a:custGeom>
          <a:solidFill>
            <a:schemeClr val="accent1">
              <a:alpha val="25000"/>
            </a:schemeClr>
          </a:solidFill>
          <a:ln>
            <a:noFill/>
          </a:ln>
        </p:spPr>
        <p:txBody>
          <a:bodyPr lIns="0" tIns="0" rIns="0" bIns="0"/>
          <a:lstStyle/>
          <a:p>
            <a:endParaRPr lang="es-ES">
              <a:solidFill>
                <a:srgbClr val="003245"/>
              </a:solidFill>
            </a:endParaRPr>
          </a:p>
        </p:txBody>
      </p:sp>
      <p:sp>
        <p:nvSpPr>
          <p:cNvPr id="12" name="AutoShape 1"/>
          <p:cNvSpPr>
            <a:spLocks noChangeAspect="1"/>
          </p:cNvSpPr>
          <p:nvPr userDrawn="1"/>
        </p:nvSpPr>
        <p:spPr bwMode="auto">
          <a:xfrm>
            <a:off x="6184751" y="476250"/>
            <a:ext cx="2701308" cy="423427"/>
          </a:xfrm>
          <a:custGeom>
            <a:avLst/>
            <a:gdLst>
              <a:gd name="T0" fmla="*/ 2458 w 21600"/>
              <a:gd name="T1" fmla="*/ 2391 h 21600"/>
              <a:gd name="T2" fmla="*/ 2237 w 21600"/>
              <a:gd name="T3" fmla="*/ 15634 h 21600"/>
              <a:gd name="T4" fmla="*/ 0 w 21600"/>
              <a:gd name="T5" fmla="*/ 18315 h 21600"/>
              <a:gd name="T6" fmla="*/ 1376 w 21600"/>
              <a:gd name="T7" fmla="*/ 341 h 21600"/>
              <a:gd name="T8" fmla="*/ 971 w 21600"/>
              <a:gd name="T9" fmla="*/ 15319 h 21600"/>
              <a:gd name="T10" fmla="*/ 2028 w 21600"/>
              <a:gd name="T11" fmla="*/ 7436 h 21600"/>
              <a:gd name="T12" fmla="*/ 1359 w 21600"/>
              <a:gd name="T13" fmla="*/ 3337 h 21600"/>
              <a:gd name="T14" fmla="*/ 750 w 21600"/>
              <a:gd name="T15" fmla="*/ 15319 h 21600"/>
              <a:gd name="T16" fmla="*/ 3591 w 21600"/>
              <a:gd name="T17" fmla="*/ 18315 h 21600"/>
              <a:gd name="T18" fmla="*/ 3438 w 21600"/>
              <a:gd name="T19" fmla="*/ 341 h 21600"/>
              <a:gd name="T20" fmla="*/ 5406 w 21600"/>
              <a:gd name="T21" fmla="*/ 11010 h 21600"/>
              <a:gd name="T22" fmla="*/ 5176 w 21600"/>
              <a:gd name="T23" fmla="*/ 15529 h 21600"/>
              <a:gd name="T24" fmla="*/ 4196 w 21600"/>
              <a:gd name="T25" fmla="*/ 17606 h 21600"/>
              <a:gd name="T26" fmla="*/ 6088 w 21600"/>
              <a:gd name="T27" fmla="*/ 17185 h 21600"/>
              <a:gd name="T28" fmla="*/ 5832 w 21600"/>
              <a:gd name="T29" fmla="*/ 8014 h 21600"/>
              <a:gd name="T30" fmla="*/ 5151 w 21600"/>
              <a:gd name="T31" fmla="*/ 5071 h 21600"/>
              <a:gd name="T32" fmla="*/ 6373 w 21600"/>
              <a:gd name="T33" fmla="*/ 3836 h 21600"/>
              <a:gd name="T34" fmla="*/ 5700 w 21600"/>
              <a:gd name="T35" fmla="*/ 0 h 21600"/>
              <a:gd name="T36" fmla="*/ 4516 w 21600"/>
              <a:gd name="T37" fmla="*/ 5570 h 21600"/>
              <a:gd name="T38" fmla="*/ 5406 w 21600"/>
              <a:gd name="T39" fmla="*/ 11010 h 21600"/>
              <a:gd name="T40" fmla="*/ 8384 w 21600"/>
              <a:gd name="T41" fmla="*/ 0 h 21600"/>
              <a:gd name="T42" fmla="*/ 6787 w 21600"/>
              <a:gd name="T43" fmla="*/ 11562 h 21600"/>
              <a:gd name="T44" fmla="*/ 8708 w 21600"/>
              <a:gd name="T45" fmla="*/ 18131 h 21600"/>
              <a:gd name="T46" fmla="*/ 8137 w 21600"/>
              <a:gd name="T47" fmla="*/ 15504 h 21600"/>
              <a:gd name="T48" fmla="*/ 7473 w 21600"/>
              <a:gd name="T49" fmla="*/ 11324 h 21600"/>
              <a:gd name="T50" fmla="*/ 8431 w 21600"/>
              <a:gd name="T51" fmla="*/ 3179 h 21600"/>
              <a:gd name="T52" fmla="*/ 9194 w 21600"/>
              <a:gd name="T53" fmla="*/ 867 h 21600"/>
              <a:gd name="T54" fmla="*/ 9569 w 21600"/>
              <a:gd name="T55" fmla="*/ 4257 h 21600"/>
              <a:gd name="T56" fmla="*/ 11976 w 21600"/>
              <a:gd name="T57" fmla="*/ 6884 h 21600"/>
              <a:gd name="T58" fmla="*/ 10395 w 21600"/>
              <a:gd name="T59" fmla="*/ 18683 h 21600"/>
              <a:gd name="T60" fmla="*/ 10169 w 21600"/>
              <a:gd name="T61" fmla="*/ 5860 h 21600"/>
              <a:gd name="T62" fmla="*/ 10446 w 21600"/>
              <a:gd name="T63" fmla="*/ 15477 h 21600"/>
              <a:gd name="T64" fmla="*/ 11290 w 21600"/>
              <a:gd name="T65" fmla="*/ 6884 h 21600"/>
              <a:gd name="T66" fmla="*/ 10169 w 21600"/>
              <a:gd name="T67" fmla="*/ 5860 h 21600"/>
              <a:gd name="T68" fmla="*/ 12811 w 21600"/>
              <a:gd name="T69" fmla="*/ 18315 h 21600"/>
              <a:gd name="T70" fmla="*/ 15009 w 21600"/>
              <a:gd name="T71" fmla="*/ 341 h 21600"/>
              <a:gd name="T72" fmla="*/ 13314 w 21600"/>
              <a:gd name="T73" fmla="*/ 13585 h 21600"/>
              <a:gd name="T74" fmla="*/ 12308 w 21600"/>
              <a:gd name="T75" fmla="*/ 341 h 21600"/>
              <a:gd name="T76" fmla="*/ 16726 w 21600"/>
              <a:gd name="T77" fmla="*/ 10747 h 21600"/>
              <a:gd name="T78" fmla="*/ 15815 w 21600"/>
              <a:gd name="T79" fmla="*/ 7673 h 21600"/>
              <a:gd name="T80" fmla="*/ 17191 w 21600"/>
              <a:gd name="T81" fmla="*/ 3311 h 21600"/>
              <a:gd name="T82" fmla="*/ 15359 w 21600"/>
              <a:gd name="T83" fmla="*/ 341 h 21600"/>
              <a:gd name="T84" fmla="*/ 16837 w 21600"/>
              <a:gd name="T85" fmla="*/ 18315 h 21600"/>
              <a:gd name="T86" fmla="*/ 15597 w 21600"/>
              <a:gd name="T87" fmla="*/ 15346 h 21600"/>
              <a:gd name="T88" fmla="*/ 19700 w 21600"/>
              <a:gd name="T89" fmla="*/ 8803 h 21600"/>
              <a:gd name="T90" fmla="*/ 19628 w 21600"/>
              <a:gd name="T91" fmla="*/ 18315 h 21600"/>
              <a:gd name="T92" fmla="*/ 18575 w 21600"/>
              <a:gd name="T93" fmla="*/ 11799 h 21600"/>
              <a:gd name="T94" fmla="*/ 18000 w 21600"/>
              <a:gd name="T95" fmla="*/ 18315 h 21600"/>
              <a:gd name="T96" fmla="*/ 17847 w 21600"/>
              <a:gd name="T97" fmla="*/ 341 h 21600"/>
              <a:gd name="T98" fmla="*/ 19611 w 21600"/>
              <a:gd name="T99" fmla="*/ 1655 h 21600"/>
              <a:gd name="T100" fmla="*/ 19700 w 21600"/>
              <a:gd name="T101" fmla="*/ 8803 h 21600"/>
              <a:gd name="T102" fmla="*/ 18524 w 21600"/>
              <a:gd name="T103" fmla="*/ 8830 h 21600"/>
              <a:gd name="T104" fmla="*/ 19197 w 21600"/>
              <a:gd name="T105" fmla="*/ 5492 h 21600"/>
              <a:gd name="T106" fmla="*/ 18758 w 21600"/>
              <a:gd name="T107" fmla="*/ 3311 h 21600"/>
              <a:gd name="T108" fmla="*/ 18268 w 21600"/>
              <a:gd name="T109" fmla="*/ 8830 h 21600"/>
              <a:gd name="T110" fmla="*/ 21600 w 21600"/>
              <a:gd name="T111" fmla="*/ 19051 h 21600"/>
              <a:gd name="T112" fmla="*/ 19696 w 21600"/>
              <a:gd name="T113" fmla="*/ 21600 h 21600"/>
              <a:gd name="T114" fmla="*/ 21523 w 21600"/>
              <a:gd name="T115"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00" h="21600">
                <a:moveTo>
                  <a:pt x="1376" y="341"/>
                </a:moveTo>
                <a:cubicBezTo>
                  <a:pt x="1811" y="341"/>
                  <a:pt x="2215" y="815"/>
                  <a:pt x="2458" y="2391"/>
                </a:cubicBezTo>
                <a:cubicBezTo>
                  <a:pt x="2650" y="3626"/>
                  <a:pt x="2714" y="5334"/>
                  <a:pt x="2714" y="7357"/>
                </a:cubicBezTo>
                <a:cubicBezTo>
                  <a:pt x="2714" y="10564"/>
                  <a:pt x="2556" y="13612"/>
                  <a:pt x="2237" y="15634"/>
                </a:cubicBezTo>
                <a:cubicBezTo>
                  <a:pt x="1900" y="17764"/>
                  <a:pt x="1431" y="18315"/>
                  <a:pt x="903" y="18315"/>
                </a:cubicBezTo>
                <a:lnTo>
                  <a:pt x="0" y="18315"/>
                </a:lnTo>
                <a:lnTo>
                  <a:pt x="511" y="341"/>
                </a:lnTo>
                <a:lnTo>
                  <a:pt x="1376" y="341"/>
                </a:lnTo>
                <a:close/>
                <a:moveTo>
                  <a:pt x="750" y="15319"/>
                </a:moveTo>
                <a:lnTo>
                  <a:pt x="971" y="15319"/>
                </a:lnTo>
                <a:cubicBezTo>
                  <a:pt x="1333" y="15319"/>
                  <a:pt x="1572" y="14768"/>
                  <a:pt x="1760" y="13112"/>
                </a:cubicBezTo>
                <a:cubicBezTo>
                  <a:pt x="1913" y="11745"/>
                  <a:pt x="2028" y="9669"/>
                  <a:pt x="2028" y="7436"/>
                </a:cubicBezTo>
                <a:cubicBezTo>
                  <a:pt x="2028" y="6070"/>
                  <a:pt x="1985" y="5098"/>
                  <a:pt x="1887" y="4415"/>
                </a:cubicBezTo>
                <a:cubicBezTo>
                  <a:pt x="1785" y="3705"/>
                  <a:pt x="1623" y="3337"/>
                  <a:pt x="1359" y="3337"/>
                </a:cubicBezTo>
                <a:lnTo>
                  <a:pt x="1091" y="3337"/>
                </a:lnTo>
                <a:lnTo>
                  <a:pt x="750" y="15319"/>
                </a:lnTo>
                <a:close/>
                <a:moveTo>
                  <a:pt x="2927" y="18315"/>
                </a:moveTo>
                <a:lnTo>
                  <a:pt x="3591" y="18315"/>
                </a:lnTo>
                <a:lnTo>
                  <a:pt x="4103" y="341"/>
                </a:lnTo>
                <a:lnTo>
                  <a:pt x="3438" y="341"/>
                </a:lnTo>
                <a:lnTo>
                  <a:pt x="2927" y="18315"/>
                </a:lnTo>
                <a:close/>
                <a:moveTo>
                  <a:pt x="5406" y="11010"/>
                </a:moveTo>
                <a:cubicBezTo>
                  <a:pt x="5671" y="11667"/>
                  <a:pt x="5777" y="12298"/>
                  <a:pt x="5777" y="13296"/>
                </a:cubicBezTo>
                <a:cubicBezTo>
                  <a:pt x="5777" y="15083"/>
                  <a:pt x="5449" y="15529"/>
                  <a:pt x="5176" y="15529"/>
                </a:cubicBezTo>
                <a:cubicBezTo>
                  <a:pt x="4895" y="15529"/>
                  <a:pt x="4567" y="15109"/>
                  <a:pt x="4329" y="14558"/>
                </a:cubicBezTo>
                <a:lnTo>
                  <a:pt x="4196" y="17606"/>
                </a:lnTo>
                <a:cubicBezTo>
                  <a:pt x="4524" y="18341"/>
                  <a:pt x="4861" y="18682"/>
                  <a:pt x="5172" y="18682"/>
                </a:cubicBezTo>
                <a:cubicBezTo>
                  <a:pt x="5547" y="18682"/>
                  <a:pt x="5862" y="18183"/>
                  <a:pt x="6088" y="17185"/>
                </a:cubicBezTo>
                <a:cubicBezTo>
                  <a:pt x="6331" y="16108"/>
                  <a:pt x="6425" y="14557"/>
                  <a:pt x="6425" y="12876"/>
                </a:cubicBezTo>
                <a:cubicBezTo>
                  <a:pt x="6425" y="10563"/>
                  <a:pt x="6241" y="9039"/>
                  <a:pt x="5832" y="8014"/>
                </a:cubicBezTo>
                <a:lnTo>
                  <a:pt x="5581" y="7384"/>
                </a:lnTo>
                <a:cubicBezTo>
                  <a:pt x="5244" y="6542"/>
                  <a:pt x="5151" y="5859"/>
                  <a:pt x="5151" y="5071"/>
                </a:cubicBezTo>
                <a:cubicBezTo>
                  <a:pt x="5151" y="3731"/>
                  <a:pt x="5394" y="3153"/>
                  <a:pt x="5700" y="3153"/>
                </a:cubicBezTo>
                <a:cubicBezTo>
                  <a:pt x="5909" y="3153"/>
                  <a:pt x="6143" y="3415"/>
                  <a:pt x="6373" y="3836"/>
                </a:cubicBezTo>
                <a:lnTo>
                  <a:pt x="6540" y="946"/>
                </a:lnTo>
                <a:cubicBezTo>
                  <a:pt x="6250" y="341"/>
                  <a:pt x="5986" y="0"/>
                  <a:pt x="5700" y="0"/>
                </a:cubicBezTo>
                <a:cubicBezTo>
                  <a:pt x="5368" y="0"/>
                  <a:pt x="5074" y="473"/>
                  <a:pt x="4870" y="1340"/>
                </a:cubicBezTo>
                <a:cubicBezTo>
                  <a:pt x="4644" y="2285"/>
                  <a:pt x="4516" y="3758"/>
                  <a:pt x="4516" y="5570"/>
                </a:cubicBezTo>
                <a:cubicBezTo>
                  <a:pt x="4516" y="7830"/>
                  <a:pt x="4716" y="9276"/>
                  <a:pt x="5155" y="10379"/>
                </a:cubicBezTo>
                <a:lnTo>
                  <a:pt x="5406" y="11010"/>
                </a:lnTo>
                <a:close/>
                <a:moveTo>
                  <a:pt x="9194" y="867"/>
                </a:moveTo>
                <a:cubicBezTo>
                  <a:pt x="8947" y="368"/>
                  <a:pt x="8678" y="0"/>
                  <a:pt x="8384" y="0"/>
                </a:cubicBezTo>
                <a:cubicBezTo>
                  <a:pt x="7988" y="0"/>
                  <a:pt x="7601" y="605"/>
                  <a:pt x="7298" y="2602"/>
                </a:cubicBezTo>
                <a:cubicBezTo>
                  <a:pt x="6949" y="4914"/>
                  <a:pt x="6787" y="8592"/>
                  <a:pt x="6787" y="11562"/>
                </a:cubicBezTo>
                <a:cubicBezTo>
                  <a:pt x="6787" y="16423"/>
                  <a:pt x="7204" y="18683"/>
                  <a:pt x="7988" y="18683"/>
                </a:cubicBezTo>
                <a:cubicBezTo>
                  <a:pt x="8244" y="18683"/>
                  <a:pt x="8525" y="18446"/>
                  <a:pt x="8708" y="18131"/>
                </a:cubicBezTo>
                <a:lnTo>
                  <a:pt x="8725" y="15135"/>
                </a:lnTo>
                <a:cubicBezTo>
                  <a:pt x="8546" y="15346"/>
                  <a:pt x="8320" y="15504"/>
                  <a:pt x="8137" y="15504"/>
                </a:cubicBezTo>
                <a:cubicBezTo>
                  <a:pt x="7903" y="15504"/>
                  <a:pt x="7711" y="15240"/>
                  <a:pt x="7596" y="14294"/>
                </a:cubicBezTo>
                <a:cubicBezTo>
                  <a:pt x="7502" y="13532"/>
                  <a:pt x="7473" y="12429"/>
                  <a:pt x="7473" y="11324"/>
                </a:cubicBezTo>
                <a:cubicBezTo>
                  <a:pt x="7473" y="9224"/>
                  <a:pt x="7583" y="6884"/>
                  <a:pt x="7733" y="5440"/>
                </a:cubicBezTo>
                <a:cubicBezTo>
                  <a:pt x="7916" y="3652"/>
                  <a:pt x="8163" y="3179"/>
                  <a:pt x="8431" y="3179"/>
                </a:cubicBezTo>
                <a:cubicBezTo>
                  <a:pt x="8644" y="3179"/>
                  <a:pt x="8849" y="3469"/>
                  <a:pt x="9028" y="3784"/>
                </a:cubicBezTo>
                <a:lnTo>
                  <a:pt x="9194" y="867"/>
                </a:lnTo>
                <a:close/>
                <a:moveTo>
                  <a:pt x="9262" y="11799"/>
                </a:moveTo>
                <a:cubicBezTo>
                  <a:pt x="9262" y="9039"/>
                  <a:pt x="9373" y="6333"/>
                  <a:pt x="9569" y="4257"/>
                </a:cubicBezTo>
                <a:cubicBezTo>
                  <a:pt x="9833" y="1472"/>
                  <a:pt x="10255" y="0"/>
                  <a:pt x="10843" y="0"/>
                </a:cubicBezTo>
                <a:cubicBezTo>
                  <a:pt x="11516" y="0"/>
                  <a:pt x="11976" y="2181"/>
                  <a:pt x="11976" y="6884"/>
                </a:cubicBezTo>
                <a:cubicBezTo>
                  <a:pt x="11976" y="9644"/>
                  <a:pt x="11865" y="12350"/>
                  <a:pt x="11669" y="14426"/>
                </a:cubicBezTo>
                <a:cubicBezTo>
                  <a:pt x="11405" y="17211"/>
                  <a:pt x="10983" y="18683"/>
                  <a:pt x="10395" y="18683"/>
                </a:cubicBezTo>
                <a:cubicBezTo>
                  <a:pt x="9722" y="18683"/>
                  <a:pt x="9262" y="16502"/>
                  <a:pt x="9262" y="11799"/>
                </a:cubicBezTo>
                <a:moveTo>
                  <a:pt x="10169" y="5860"/>
                </a:moveTo>
                <a:cubicBezTo>
                  <a:pt x="10029" y="7516"/>
                  <a:pt x="9948" y="9670"/>
                  <a:pt x="9948" y="11799"/>
                </a:cubicBezTo>
                <a:cubicBezTo>
                  <a:pt x="9948" y="14505"/>
                  <a:pt x="10148" y="15477"/>
                  <a:pt x="10446" y="15477"/>
                </a:cubicBezTo>
                <a:cubicBezTo>
                  <a:pt x="10727" y="15477"/>
                  <a:pt x="10928" y="14452"/>
                  <a:pt x="11068" y="12823"/>
                </a:cubicBezTo>
                <a:cubicBezTo>
                  <a:pt x="11209" y="11167"/>
                  <a:pt x="11290" y="9013"/>
                  <a:pt x="11290" y="6884"/>
                </a:cubicBezTo>
                <a:cubicBezTo>
                  <a:pt x="11290" y="4178"/>
                  <a:pt x="11090" y="3206"/>
                  <a:pt x="10791" y="3206"/>
                </a:cubicBezTo>
                <a:cubicBezTo>
                  <a:pt x="10510" y="3206"/>
                  <a:pt x="10310" y="4231"/>
                  <a:pt x="10169" y="5860"/>
                </a:cubicBezTo>
                <a:moveTo>
                  <a:pt x="12308" y="341"/>
                </a:moveTo>
                <a:lnTo>
                  <a:pt x="12811" y="18315"/>
                </a:lnTo>
                <a:lnTo>
                  <a:pt x="13531" y="18315"/>
                </a:lnTo>
                <a:lnTo>
                  <a:pt x="15009" y="341"/>
                </a:lnTo>
                <a:lnTo>
                  <a:pt x="14328" y="341"/>
                </a:lnTo>
                <a:lnTo>
                  <a:pt x="13314" y="13585"/>
                </a:lnTo>
                <a:lnTo>
                  <a:pt x="12994" y="341"/>
                </a:lnTo>
                <a:lnTo>
                  <a:pt x="12308" y="341"/>
                </a:lnTo>
                <a:close/>
                <a:moveTo>
                  <a:pt x="15725" y="10747"/>
                </a:moveTo>
                <a:lnTo>
                  <a:pt x="16726" y="10747"/>
                </a:lnTo>
                <a:lnTo>
                  <a:pt x="16815" y="7673"/>
                </a:lnTo>
                <a:lnTo>
                  <a:pt x="15815" y="7673"/>
                </a:lnTo>
                <a:lnTo>
                  <a:pt x="15938" y="3311"/>
                </a:lnTo>
                <a:lnTo>
                  <a:pt x="17191" y="3311"/>
                </a:lnTo>
                <a:lnTo>
                  <a:pt x="17327" y="341"/>
                </a:lnTo>
                <a:lnTo>
                  <a:pt x="15359" y="341"/>
                </a:lnTo>
                <a:lnTo>
                  <a:pt x="14847" y="18315"/>
                </a:lnTo>
                <a:lnTo>
                  <a:pt x="16837" y="18315"/>
                </a:lnTo>
                <a:lnTo>
                  <a:pt x="16918" y="15346"/>
                </a:lnTo>
                <a:lnTo>
                  <a:pt x="15597" y="15346"/>
                </a:lnTo>
                <a:lnTo>
                  <a:pt x="15725" y="10747"/>
                </a:lnTo>
                <a:close/>
                <a:moveTo>
                  <a:pt x="19700" y="8803"/>
                </a:moveTo>
                <a:cubicBezTo>
                  <a:pt x="19589" y="9748"/>
                  <a:pt x="19410" y="10537"/>
                  <a:pt x="19176" y="11115"/>
                </a:cubicBezTo>
                <a:lnTo>
                  <a:pt x="19628" y="18315"/>
                </a:lnTo>
                <a:lnTo>
                  <a:pt x="18916" y="18315"/>
                </a:lnTo>
                <a:lnTo>
                  <a:pt x="18575" y="11799"/>
                </a:lnTo>
                <a:lnTo>
                  <a:pt x="18183" y="11799"/>
                </a:lnTo>
                <a:lnTo>
                  <a:pt x="18000" y="18315"/>
                </a:lnTo>
                <a:lnTo>
                  <a:pt x="17336" y="18315"/>
                </a:lnTo>
                <a:lnTo>
                  <a:pt x="17847" y="341"/>
                </a:lnTo>
                <a:lnTo>
                  <a:pt x="18839" y="341"/>
                </a:lnTo>
                <a:cubicBezTo>
                  <a:pt x="19201" y="341"/>
                  <a:pt x="19453" y="815"/>
                  <a:pt x="19611" y="1655"/>
                </a:cubicBezTo>
                <a:cubicBezTo>
                  <a:pt x="19785" y="2575"/>
                  <a:pt x="19858" y="3915"/>
                  <a:pt x="19858" y="5466"/>
                </a:cubicBezTo>
                <a:cubicBezTo>
                  <a:pt x="19858" y="6753"/>
                  <a:pt x="19806" y="7883"/>
                  <a:pt x="19700" y="8803"/>
                </a:cubicBezTo>
                <a:moveTo>
                  <a:pt x="18268" y="8830"/>
                </a:moveTo>
                <a:lnTo>
                  <a:pt x="18524" y="8830"/>
                </a:lnTo>
                <a:cubicBezTo>
                  <a:pt x="18729" y="8830"/>
                  <a:pt x="18912" y="8592"/>
                  <a:pt x="19035" y="7883"/>
                </a:cubicBezTo>
                <a:cubicBezTo>
                  <a:pt x="19133" y="7331"/>
                  <a:pt x="19197" y="6437"/>
                  <a:pt x="19197" y="5492"/>
                </a:cubicBezTo>
                <a:cubicBezTo>
                  <a:pt x="19197" y="4887"/>
                  <a:pt x="19172" y="4336"/>
                  <a:pt x="19112" y="3968"/>
                </a:cubicBezTo>
                <a:cubicBezTo>
                  <a:pt x="19044" y="3548"/>
                  <a:pt x="18937" y="3311"/>
                  <a:pt x="18758" y="3311"/>
                </a:cubicBezTo>
                <a:lnTo>
                  <a:pt x="18426" y="3311"/>
                </a:lnTo>
                <a:lnTo>
                  <a:pt x="18268" y="8830"/>
                </a:lnTo>
                <a:close/>
                <a:moveTo>
                  <a:pt x="21523" y="21600"/>
                </a:moveTo>
                <a:lnTo>
                  <a:pt x="21600" y="19051"/>
                </a:lnTo>
                <a:lnTo>
                  <a:pt x="19772" y="19051"/>
                </a:lnTo>
                <a:lnTo>
                  <a:pt x="19696" y="21600"/>
                </a:lnTo>
                <a:lnTo>
                  <a:pt x="21523" y="21600"/>
                </a:lnTo>
                <a:close/>
                <a:moveTo>
                  <a:pt x="21523" y="21600"/>
                </a:moveTo>
              </a:path>
            </a:pathLst>
          </a:custGeom>
          <a:solidFill>
            <a:schemeClr val="accent1">
              <a:alpha val="60000"/>
            </a:schemeClr>
          </a:solidFill>
          <a:ln>
            <a:noFill/>
          </a:ln>
        </p:spPr>
        <p:txBody>
          <a:bodyPr lIns="0" tIns="0" rIns="0" bIns="0"/>
          <a:lstStyle/>
          <a:p>
            <a:endParaRPr lang="es-ES">
              <a:solidFill>
                <a:srgbClr val="003245"/>
              </a:solidFill>
            </a:endParaRPr>
          </a:p>
        </p:txBody>
      </p:sp>
      <p:grpSp>
        <p:nvGrpSpPr>
          <p:cNvPr id="15" name="Grupo 14"/>
          <p:cNvGrpSpPr/>
          <p:nvPr userDrawn="1"/>
        </p:nvGrpSpPr>
        <p:grpSpPr>
          <a:xfrm>
            <a:off x="58864" y="6464175"/>
            <a:ext cx="2103461" cy="359735"/>
            <a:chOff x="58864" y="6464175"/>
            <a:chExt cx="2103461" cy="359735"/>
          </a:xfrm>
        </p:grpSpPr>
        <p:grpSp>
          <p:nvGrpSpPr>
            <p:cNvPr id="16" name="Group 4"/>
            <p:cNvGrpSpPr>
              <a:grpSpLocks/>
            </p:cNvGrpSpPr>
            <p:nvPr userDrawn="1"/>
          </p:nvGrpSpPr>
          <p:grpSpPr bwMode="auto">
            <a:xfrm>
              <a:off x="179512" y="6464175"/>
              <a:ext cx="888250" cy="136799"/>
              <a:chOff x="-14" y="12"/>
              <a:chExt cx="605" cy="99"/>
            </a:xfrm>
          </p:grpSpPr>
          <p:sp>
            <p:nvSpPr>
              <p:cNvPr id="22" name="AutoShape 2"/>
              <p:cNvSpPr>
                <a:spLocks/>
              </p:cNvSpPr>
              <p:nvPr/>
            </p:nvSpPr>
            <p:spPr bwMode="auto">
              <a:xfrm>
                <a:off x="-14" y="12"/>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sp>
            <p:nvSpPr>
              <p:cNvPr id="23"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21600"/>
                    </a:moveTo>
                    <a:lnTo>
                      <a:pt x="870" y="0"/>
                    </a:lnTo>
                    <a:lnTo>
                      <a:pt x="21600" y="0"/>
                    </a:lnTo>
                    <a:lnTo>
                      <a:pt x="20730" y="21600"/>
                    </a:lnTo>
                    <a:lnTo>
                      <a:pt x="0" y="21600"/>
                    </a:lnTo>
                    <a:close/>
                    <a:moveTo>
                      <a:pt x="0" y="21600"/>
                    </a:moveTo>
                  </a:path>
                </a:pathLst>
              </a:custGeom>
              <a:solidFill>
                <a:srgbClr val="7DFE9D"/>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grpSp>
        <p:sp>
          <p:nvSpPr>
            <p:cNvPr id="17" name="22 CuadroTexto"/>
            <p:cNvSpPr txBox="1"/>
            <p:nvPr userDrawn="1"/>
          </p:nvSpPr>
          <p:spPr>
            <a:xfrm>
              <a:off x="58864" y="6577689"/>
              <a:ext cx="2103461" cy="246221"/>
            </a:xfrm>
            <a:prstGeom prst="rect">
              <a:avLst/>
            </a:prstGeom>
            <a:noFill/>
          </p:spPr>
          <p:txBody>
            <a:bodyPr wrap="none" rtlCol="0">
              <a:spAutoFit/>
            </a:bodyPr>
            <a:lstStyle/>
            <a:p>
              <a:r>
                <a:rPr lang="en-US" sz="1000" b="0" i="1" noProof="0" dirty="0" smtClean="0">
                  <a:solidFill>
                    <a:schemeClr val="accent5">
                      <a:lumMod val="75000"/>
                    </a:schemeClr>
                  </a:solidFill>
                  <a:latin typeface="Arial" panose="020B0604020202020204" pitchFamily="34" charset="0"/>
                  <a:cs typeface="Arial" panose="020B0604020202020204" pitchFamily="34" charset="0"/>
                </a:rPr>
                <a:t>DISCOVER</a:t>
              </a:r>
              <a:r>
                <a:rPr lang="en-US" sz="1000" b="0" i="1" dirty="0" smtClean="0">
                  <a:solidFill>
                    <a:schemeClr val="accent5">
                      <a:lumMod val="75000"/>
                    </a:schemeClr>
                  </a:solidFill>
                  <a:latin typeface="Arial" panose="020B0604020202020204" pitchFamily="34" charset="0"/>
                  <a:cs typeface="Arial" panose="020B0604020202020204" pitchFamily="34" charset="0"/>
                </a:rPr>
                <a:t>, DISRUPT, DELIVER</a:t>
              </a:r>
              <a:endParaRPr lang="en-US" sz="1000" b="0" i="1" dirty="0">
                <a:solidFill>
                  <a:schemeClr val="accent5">
                    <a:lumMod val="7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57260787"/>
      </p:ext>
    </p:extLst>
  </p:cSld>
  <p:clrMap bg1="lt1" tx1="dk1" bg2="lt2" tx2="dk2" accent1="accent1" accent2="accent2" accent3="accent3" accent4="accent4" accent5="accent5" accent6="accent6" hlink="hlink" folHlink="folHlink"/>
  <p:sldLayoutIdLst>
    <p:sldLayoutId id="2147483746" r:id="rId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800">
          <a:solidFill>
            <a:srgbClr val="17B4C6"/>
          </a:solidFill>
          <a:latin typeface="+mj-lt"/>
          <a:ea typeface="+mj-ea"/>
          <a:cs typeface="+mj-cs"/>
          <a:sym typeface="Gill Sans" pitchFamily="122"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1pPr>
      <a:lvl2pPr marL="1333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2pPr>
      <a:lvl3pPr marL="1778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3pPr>
      <a:lvl4pPr marL="2222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4pPr>
      <a:lvl5pPr marL="2667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5pPr>
      <a:lvl6pPr marL="31242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6pPr>
      <a:lvl7pPr marL="35814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7pPr>
      <a:lvl8pPr marL="40386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8pPr>
      <a:lvl9pPr marL="44958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47" name="AutoShape 5"/>
          <p:cNvSpPr>
            <a:spLocks/>
          </p:cNvSpPr>
          <p:nvPr/>
        </p:nvSpPr>
        <p:spPr bwMode="auto">
          <a:xfrm>
            <a:off x="8028844" y="6502400"/>
            <a:ext cx="830873" cy="249238"/>
          </a:xfrm>
          <a:custGeom>
            <a:avLst/>
            <a:gdLst>
              <a:gd name="T0" fmla="*/ 0 w 21600"/>
              <a:gd name="T1" fmla="*/ 892206852 h 21600"/>
              <a:gd name="T2" fmla="*/ 2147483647 w 21600"/>
              <a:gd name="T3" fmla="*/ 141473318 h 21600"/>
              <a:gd name="T4" fmla="*/ 2147483647 w 21600"/>
              <a:gd name="T5" fmla="*/ 96575026 h 21600"/>
              <a:gd name="T6" fmla="*/ 2147483647 w 21600"/>
              <a:gd name="T7" fmla="*/ 275193756 h 21600"/>
              <a:gd name="T8" fmla="*/ 2147483647 w 21600"/>
              <a:gd name="T9" fmla="*/ 59300706 h 21600"/>
              <a:gd name="T10" fmla="*/ 2147483647 w 21600"/>
              <a:gd name="T11" fmla="*/ 702363606 h 21600"/>
              <a:gd name="T12" fmla="*/ 2147483647 w 21600"/>
              <a:gd name="T13" fmla="*/ 341566847 h 21600"/>
              <a:gd name="T14" fmla="*/ 2147483647 w 21600"/>
              <a:gd name="T15" fmla="*/ 6989884 h 21600"/>
              <a:gd name="T16" fmla="*/ 2147483647 w 21600"/>
              <a:gd name="T17" fmla="*/ 12835521 h 21600"/>
              <a:gd name="T18" fmla="*/ 2147483647 w 21600"/>
              <a:gd name="T19" fmla="*/ 406713202 h 21600"/>
              <a:gd name="T20" fmla="*/ 2147483647 w 21600"/>
              <a:gd name="T21" fmla="*/ 446866336 h 21600"/>
              <a:gd name="T22" fmla="*/ 2147483647 w 21600"/>
              <a:gd name="T23" fmla="*/ 193528986 h 21600"/>
              <a:gd name="T24" fmla="*/ 2147483647 w 21600"/>
              <a:gd name="T25" fmla="*/ 592022721 h 21600"/>
              <a:gd name="T26" fmla="*/ 2147483647 w 21600"/>
              <a:gd name="T27" fmla="*/ 635735349 h 21600"/>
              <a:gd name="T28" fmla="*/ 2147483647 w 21600"/>
              <a:gd name="T29" fmla="*/ 421156883 h 21600"/>
              <a:gd name="T30" fmla="*/ 2147483647 w 21600"/>
              <a:gd name="T31" fmla="*/ 88484663 h 21600"/>
              <a:gd name="T32" fmla="*/ 2147483647 w 21600"/>
              <a:gd name="T33" fmla="*/ 232540374 h 21600"/>
              <a:gd name="T34" fmla="*/ 2147483647 w 21600"/>
              <a:gd name="T35" fmla="*/ 232540374 h 21600"/>
              <a:gd name="T36" fmla="*/ 2147483647 w 21600"/>
              <a:gd name="T37" fmla="*/ 528997692 h 21600"/>
              <a:gd name="T38" fmla="*/ 2147483647 w 21600"/>
              <a:gd name="T39" fmla="*/ 523871306 h 21600"/>
              <a:gd name="T40" fmla="*/ 2147483647 w 21600"/>
              <a:gd name="T41" fmla="*/ 493754362 h 21600"/>
              <a:gd name="T42" fmla="*/ 2147483647 w 21600"/>
              <a:gd name="T43" fmla="*/ 631585869 h 21600"/>
              <a:gd name="T44" fmla="*/ 2147483647 w 21600"/>
              <a:gd name="T45" fmla="*/ 201322939 h 21600"/>
              <a:gd name="T46" fmla="*/ 2147483647 w 21600"/>
              <a:gd name="T47" fmla="*/ 482658754 h 21600"/>
              <a:gd name="T48" fmla="*/ 2147483647 w 21600"/>
              <a:gd name="T49" fmla="*/ 231014554 h 21600"/>
              <a:gd name="T50" fmla="*/ 2147483647 w 21600"/>
              <a:gd name="T51" fmla="*/ 318228550 h 21600"/>
              <a:gd name="T52" fmla="*/ 2147483647 w 21600"/>
              <a:gd name="T53" fmla="*/ 277015998 h 21600"/>
              <a:gd name="T54" fmla="*/ 2147483647 w 21600"/>
              <a:gd name="T55" fmla="*/ 522811888 h 21600"/>
              <a:gd name="T56" fmla="*/ 2147483647 w 21600"/>
              <a:gd name="T57" fmla="*/ 219323441 h 21600"/>
              <a:gd name="T58" fmla="*/ 2147483647 w 21600"/>
              <a:gd name="T59" fmla="*/ 536451489 h 21600"/>
              <a:gd name="T60" fmla="*/ 2147483647 w 21600"/>
              <a:gd name="T61" fmla="*/ 359611267 h 21600"/>
              <a:gd name="T62" fmla="*/ 2147483647 w 21600"/>
              <a:gd name="T63" fmla="*/ 245035739 h 21600"/>
              <a:gd name="T64" fmla="*/ 2147483647 w 21600"/>
              <a:gd name="T65" fmla="*/ 482658754 h 21600"/>
              <a:gd name="T66" fmla="*/ 2147483647 w 21600"/>
              <a:gd name="T67" fmla="*/ 710539155 h 21600"/>
              <a:gd name="T68" fmla="*/ 2147483647 w 21600"/>
              <a:gd name="T69" fmla="*/ 238512269 h 21600"/>
              <a:gd name="T70" fmla="*/ 2147483647 w 21600"/>
              <a:gd name="T71" fmla="*/ 386550130 h 21600"/>
              <a:gd name="T72" fmla="*/ 2147483647 w 21600"/>
              <a:gd name="T73" fmla="*/ 290400434 h 21600"/>
              <a:gd name="T74" fmla="*/ 2147483647 w 21600"/>
              <a:gd name="T75" fmla="*/ 415056069 h 21600"/>
              <a:gd name="T76" fmla="*/ 2147483647 w 21600"/>
              <a:gd name="T77" fmla="*/ 544753284 h 21600"/>
              <a:gd name="T78" fmla="*/ 2147483647 w 21600"/>
              <a:gd name="T79" fmla="*/ 589991905 h 21600"/>
              <a:gd name="T80" fmla="*/ 2147483647 w 21600"/>
              <a:gd name="T81" fmla="*/ 201067773 h 21600"/>
              <a:gd name="T82" fmla="*/ 2147483647 w 21600"/>
              <a:gd name="T83" fmla="*/ 231736294 h 21600"/>
              <a:gd name="T84" fmla="*/ 2147483647 w 21600"/>
              <a:gd name="T85" fmla="*/ 241690339 h 21600"/>
              <a:gd name="T86" fmla="*/ 2147483647 w 21600"/>
              <a:gd name="T87" fmla="*/ 501633500 h 21600"/>
              <a:gd name="T88" fmla="*/ 2147483647 w 21600"/>
              <a:gd name="T89" fmla="*/ 202171109 h 21600"/>
              <a:gd name="T90" fmla="*/ 2147483647 w 21600"/>
              <a:gd name="T91" fmla="*/ 34859246 h 21600"/>
              <a:gd name="T92" fmla="*/ 2147483647 w 21600"/>
              <a:gd name="T93" fmla="*/ 161040897 h 21600"/>
              <a:gd name="T94" fmla="*/ 2147483647 w 21600"/>
              <a:gd name="T95" fmla="*/ 209369568 h 21600"/>
              <a:gd name="T96" fmla="*/ 2147483647 w 21600"/>
              <a:gd name="T97" fmla="*/ 245966066 h 21600"/>
              <a:gd name="T98" fmla="*/ 2147483647 w 21600"/>
              <a:gd name="T99" fmla="*/ 501592243 h 21600"/>
              <a:gd name="T100" fmla="*/ 2147483647 w 21600"/>
              <a:gd name="T101" fmla="*/ 239486513 h 21600"/>
              <a:gd name="T102" fmla="*/ 2147483647 w 21600"/>
              <a:gd name="T103" fmla="*/ 497651349 h 21600"/>
              <a:gd name="T104" fmla="*/ 2147483647 w 21600"/>
              <a:gd name="T105" fmla="*/ 415522655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rgbClr val="003346"/>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solidFill>
                <a:srgbClr val="003245"/>
              </a:solidFill>
            </a:endParaRPr>
          </a:p>
        </p:txBody>
      </p:sp>
      <p:sp>
        <p:nvSpPr>
          <p:cNvPr id="6148" name="Rectangle 13"/>
          <p:cNvSpPr>
            <a:spLocks/>
          </p:cNvSpPr>
          <p:nvPr/>
        </p:nvSpPr>
        <p:spPr bwMode="auto">
          <a:xfrm rot="10800000">
            <a:off x="7164292" y="6332538"/>
            <a:ext cx="864577" cy="49212"/>
          </a:xfrm>
          <a:prstGeom prst="rect">
            <a:avLst/>
          </a:prstGeom>
          <a:solidFill>
            <a:srgbClr val="156273"/>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49" name="Rectangle 12"/>
          <p:cNvSpPr>
            <a:spLocks/>
          </p:cNvSpPr>
          <p:nvPr/>
        </p:nvSpPr>
        <p:spPr bwMode="auto">
          <a:xfrm rot="10800000">
            <a:off x="8015680" y="6332538"/>
            <a:ext cx="1122485" cy="49212"/>
          </a:xfrm>
          <a:prstGeom prst="rect">
            <a:avLst/>
          </a:prstGeom>
          <a:solidFill>
            <a:srgbClr val="115362"/>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0" name="Rectangle 14"/>
          <p:cNvSpPr>
            <a:spLocks/>
          </p:cNvSpPr>
          <p:nvPr/>
        </p:nvSpPr>
        <p:spPr bwMode="auto">
          <a:xfrm rot="10800000">
            <a:off x="6268916" y="6332538"/>
            <a:ext cx="895350" cy="49212"/>
          </a:xfrm>
          <a:prstGeom prst="rect">
            <a:avLst/>
          </a:prstGeom>
          <a:solidFill>
            <a:srgbClr val="1C849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1" name="Rectangle 15"/>
          <p:cNvSpPr>
            <a:spLocks/>
          </p:cNvSpPr>
          <p:nvPr/>
        </p:nvSpPr>
        <p:spPr bwMode="auto">
          <a:xfrm rot="10800000">
            <a:off x="-5857" y="6332538"/>
            <a:ext cx="6274777" cy="49212"/>
          </a:xfrm>
          <a:prstGeom prst="rect">
            <a:avLst/>
          </a:prstGeom>
          <a:solidFill>
            <a:srgbClr val="29C6D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14"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
        <p:nvSpPr>
          <p:cNvPr id="20" name="AutoShape 3"/>
          <p:cNvSpPr>
            <a:spLocks/>
          </p:cNvSpPr>
          <p:nvPr userDrawn="1"/>
        </p:nvSpPr>
        <p:spPr bwMode="auto">
          <a:xfrm>
            <a:off x="5521839" y="44450"/>
            <a:ext cx="3578225" cy="706537"/>
          </a:xfrm>
          <a:custGeom>
            <a:avLst/>
            <a:gdLst>
              <a:gd name="T0" fmla="*/ 2763 w 21600"/>
              <a:gd name="T1" fmla="*/ 2391 h 21600"/>
              <a:gd name="T2" fmla="*/ 2514 w 21600"/>
              <a:gd name="T3" fmla="*/ 15636 h 21600"/>
              <a:gd name="T4" fmla="*/ 0 w 21600"/>
              <a:gd name="T5" fmla="*/ 18316 h 21600"/>
              <a:gd name="T6" fmla="*/ 1547 w 21600"/>
              <a:gd name="T7" fmla="*/ 342 h 21600"/>
              <a:gd name="T8" fmla="*/ 1092 w 21600"/>
              <a:gd name="T9" fmla="*/ 15320 h 21600"/>
              <a:gd name="T10" fmla="*/ 2279 w 21600"/>
              <a:gd name="T11" fmla="*/ 7438 h 21600"/>
              <a:gd name="T12" fmla="*/ 1527 w 21600"/>
              <a:gd name="T13" fmla="*/ 3338 h 21600"/>
              <a:gd name="T14" fmla="*/ 843 w 21600"/>
              <a:gd name="T15" fmla="*/ 15320 h 21600"/>
              <a:gd name="T16" fmla="*/ 4037 w 21600"/>
              <a:gd name="T17" fmla="*/ 18316 h 21600"/>
              <a:gd name="T18" fmla="*/ 3864 w 21600"/>
              <a:gd name="T19" fmla="*/ 342 h 21600"/>
              <a:gd name="T20" fmla="*/ 6076 w 21600"/>
              <a:gd name="T21" fmla="*/ 11011 h 21600"/>
              <a:gd name="T22" fmla="*/ 5818 w 21600"/>
              <a:gd name="T23" fmla="*/ 15531 h 21600"/>
              <a:gd name="T24" fmla="*/ 4717 w 21600"/>
              <a:gd name="T25" fmla="*/ 17606 h 21600"/>
              <a:gd name="T26" fmla="*/ 6843 w 21600"/>
              <a:gd name="T27" fmla="*/ 17186 h 21600"/>
              <a:gd name="T28" fmla="*/ 6555 w 21600"/>
              <a:gd name="T29" fmla="*/ 8015 h 21600"/>
              <a:gd name="T30" fmla="*/ 5789 w 21600"/>
              <a:gd name="T31" fmla="*/ 5071 h 21600"/>
              <a:gd name="T32" fmla="*/ 7163 w 21600"/>
              <a:gd name="T33" fmla="*/ 3837 h 21600"/>
              <a:gd name="T34" fmla="*/ 6407 w 21600"/>
              <a:gd name="T35" fmla="*/ 0 h 21600"/>
              <a:gd name="T36" fmla="*/ 5076 w 21600"/>
              <a:gd name="T37" fmla="*/ 5571 h 21600"/>
              <a:gd name="T38" fmla="*/ 6076 w 21600"/>
              <a:gd name="T39" fmla="*/ 11011 h 21600"/>
              <a:gd name="T40" fmla="*/ 9668 w 21600"/>
              <a:gd name="T41" fmla="*/ 11116 h 21600"/>
              <a:gd name="T42" fmla="*/ 9375 w 21600"/>
              <a:gd name="T43" fmla="*/ 18316 h 21600"/>
              <a:gd name="T44" fmla="*/ 8552 w 21600"/>
              <a:gd name="T45" fmla="*/ 11799 h 21600"/>
              <a:gd name="T46" fmla="*/ 7599 w 21600"/>
              <a:gd name="T47" fmla="*/ 18316 h 21600"/>
              <a:gd name="T48" fmla="*/ 9289 w 21600"/>
              <a:gd name="T49" fmla="*/ 342 h 21600"/>
              <a:gd name="T50" fmla="*/ 10434 w 21600"/>
              <a:gd name="T51" fmla="*/ 5466 h 21600"/>
              <a:gd name="T52" fmla="*/ 8648 w 21600"/>
              <a:gd name="T53" fmla="*/ 8830 h 21600"/>
              <a:gd name="T54" fmla="*/ 9510 w 21600"/>
              <a:gd name="T55" fmla="*/ 7884 h 21600"/>
              <a:gd name="T56" fmla="*/ 9596 w 21600"/>
              <a:gd name="T57" fmla="*/ 3969 h 21600"/>
              <a:gd name="T58" fmla="*/ 8825 w 21600"/>
              <a:gd name="T59" fmla="*/ 3312 h 21600"/>
              <a:gd name="T60" fmla="*/ 12885 w 21600"/>
              <a:gd name="T61" fmla="*/ 11169 h 21600"/>
              <a:gd name="T62" fmla="*/ 12134 w 21600"/>
              <a:gd name="T63" fmla="*/ 15557 h 21600"/>
              <a:gd name="T64" fmla="*/ 11588 w 21600"/>
              <a:gd name="T65" fmla="*/ 12640 h 21600"/>
              <a:gd name="T66" fmla="*/ 11961 w 21600"/>
              <a:gd name="T67" fmla="*/ 342 h 21600"/>
              <a:gd name="T68" fmla="*/ 10922 w 21600"/>
              <a:gd name="T69" fmla="*/ 9855 h 21600"/>
              <a:gd name="T70" fmla="*/ 11190 w 21600"/>
              <a:gd name="T71" fmla="*/ 17108 h 21600"/>
              <a:gd name="T72" fmla="*/ 13077 w 21600"/>
              <a:gd name="T73" fmla="*/ 17029 h 21600"/>
              <a:gd name="T74" fmla="*/ 13900 w 21600"/>
              <a:gd name="T75" fmla="*/ 343 h 21600"/>
              <a:gd name="T76" fmla="*/ 12885 w 21600"/>
              <a:gd name="T77" fmla="*/ 11169 h 21600"/>
              <a:gd name="T78" fmla="*/ 14025 w 21600"/>
              <a:gd name="T79" fmla="*/ 18316 h 21600"/>
              <a:gd name="T80" fmla="*/ 15644 w 21600"/>
              <a:gd name="T81" fmla="*/ 343 h 21600"/>
              <a:gd name="T82" fmla="*/ 16855 w 21600"/>
              <a:gd name="T83" fmla="*/ 5518 h 21600"/>
              <a:gd name="T84" fmla="*/ 15352 w 21600"/>
              <a:gd name="T85" fmla="*/ 12115 h 21600"/>
              <a:gd name="T86" fmla="*/ 14772 w 21600"/>
              <a:gd name="T87" fmla="*/ 18316 h 21600"/>
              <a:gd name="T88" fmla="*/ 15371 w 21600"/>
              <a:gd name="T89" fmla="*/ 9039 h 21600"/>
              <a:gd name="T90" fmla="*/ 16113 w 21600"/>
              <a:gd name="T91" fmla="*/ 5676 h 21600"/>
              <a:gd name="T92" fmla="*/ 15576 w 21600"/>
              <a:gd name="T93" fmla="*/ 3312 h 21600"/>
              <a:gd name="T94" fmla="*/ 15069 w 21600"/>
              <a:gd name="T95" fmla="*/ 9039 h 21600"/>
              <a:gd name="T96" fmla="*/ 17717 w 21600"/>
              <a:gd name="T97" fmla="*/ 18316 h 21600"/>
              <a:gd name="T98" fmla="*/ 18943 w 21600"/>
              <a:gd name="T99" fmla="*/ 3312 h 21600"/>
              <a:gd name="T100" fmla="*/ 20087 w 21600"/>
              <a:gd name="T101" fmla="*/ 342 h 21600"/>
              <a:gd name="T102" fmla="*/ 17180 w 21600"/>
              <a:gd name="T103" fmla="*/ 3312 h 21600"/>
              <a:gd name="T104" fmla="*/ 21514 w 21600"/>
              <a:gd name="T105" fmla="*/ 21600 h 21600"/>
              <a:gd name="T106" fmla="*/ 19546 w 21600"/>
              <a:gd name="T107" fmla="*/ 19052 h 21600"/>
              <a:gd name="T108" fmla="*/ 21514 w 21600"/>
              <a:gd name="T109"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600" h="21600">
                <a:moveTo>
                  <a:pt x="1547" y="342"/>
                </a:moveTo>
                <a:cubicBezTo>
                  <a:pt x="2035" y="342"/>
                  <a:pt x="2490" y="815"/>
                  <a:pt x="2763" y="2391"/>
                </a:cubicBezTo>
                <a:cubicBezTo>
                  <a:pt x="2978" y="3627"/>
                  <a:pt x="3050" y="5335"/>
                  <a:pt x="3050" y="7358"/>
                </a:cubicBezTo>
                <a:cubicBezTo>
                  <a:pt x="3050" y="10564"/>
                  <a:pt x="2873" y="13612"/>
                  <a:pt x="2514" y="15636"/>
                </a:cubicBezTo>
                <a:cubicBezTo>
                  <a:pt x="2136" y="17763"/>
                  <a:pt x="1609" y="18316"/>
                  <a:pt x="1015" y="18316"/>
                </a:cubicBezTo>
                <a:lnTo>
                  <a:pt x="0" y="18316"/>
                </a:lnTo>
                <a:lnTo>
                  <a:pt x="575" y="342"/>
                </a:lnTo>
                <a:lnTo>
                  <a:pt x="1547" y="342"/>
                </a:lnTo>
                <a:close/>
                <a:moveTo>
                  <a:pt x="843" y="15320"/>
                </a:moveTo>
                <a:lnTo>
                  <a:pt x="1092" y="15320"/>
                </a:lnTo>
                <a:cubicBezTo>
                  <a:pt x="1499" y="15320"/>
                  <a:pt x="1767" y="14768"/>
                  <a:pt x="1977" y="13113"/>
                </a:cubicBezTo>
                <a:cubicBezTo>
                  <a:pt x="2150" y="11746"/>
                  <a:pt x="2279" y="9670"/>
                  <a:pt x="2279" y="7438"/>
                </a:cubicBezTo>
                <a:cubicBezTo>
                  <a:pt x="2279" y="6070"/>
                  <a:pt x="2231" y="5099"/>
                  <a:pt x="2121" y="4414"/>
                </a:cubicBezTo>
                <a:cubicBezTo>
                  <a:pt x="2006" y="3706"/>
                  <a:pt x="1824" y="3338"/>
                  <a:pt x="1527" y="3338"/>
                </a:cubicBezTo>
                <a:lnTo>
                  <a:pt x="1226" y="3338"/>
                </a:lnTo>
                <a:lnTo>
                  <a:pt x="843" y="15320"/>
                </a:lnTo>
                <a:close/>
                <a:moveTo>
                  <a:pt x="3290" y="18316"/>
                </a:moveTo>
                <a:lnTo>
                  <a:pt x="4037" y="18316"/>
                </a:lnTo>
                <a:lnTo>
                  <a:pt x="4611" y="342"/>
                </a:lnTo>
                <a:lnTo>
                  <a:pt x="3864" y="342"/>
                </a:lnTo>
                <a:lnTo>
                  <a:pt x="3290" y="18316"/>
                </a:lnTo>
                <a:close/>
                <a:moveTo>
                  <a:pt x="6076" y="11011"/>
                </a:moveTo>
                <a:cubicBezTo>
                  <a:pt x="6373" y="11668"/>
                  <a:pt x="6493" y="12298"/>
                  <a:pt x="6493" y="13296"/>
                </a:cubicBezTo>
                <a:cubicBezTo>
                  <a:pt x="6493" y="15084"/>
                  <a:pt x="6124" y="15531"/>
                  <a:pt x="5818" y="15531"/>
                </a:cubicBezTo>
                <a:cubicBezTo>
                  <a:pt x="5502" y="15531"/>
                  <a:pt x="5133" y="15110"/>
                  <a:pt x="4865" y="14558"/>
                </a:cubicBezTo>
                <a:lnTo>
                  <a:pt x="4717" y="17606"/>
                </a:lnTo>
                <a:cubicBezTo>
                  <a:pt x="5085" y="18342"/>
                  <a:pt x="5463" y="18684"/>
                  <a:pt x="5813" y="18684"/>
                </a:cubicBezTo>
                <a:cubicBezTo>
                  <a:pt x="6234" y="18684"/>
                  <a:pt x="6589" y="18185"/>
                  <a:pt x="6843" y="17186"/>
                </a:cubicBezTo>
                <a:cubicBezTo>
                  <a:pt x="7115" y="16109"/>
                  <a:pt x="7221" y="14558"/>
                  <a:pt x="7221" y="12877"/>
                </a:cubicBezTo>
                <a:cubicBezTo>
                  <a:pt x="7221" y="10564"/>
                  <a:pt x="7015" y="9039"/>
                  <a:pt x="6555" y="8015"/>
                </a:cubicBezTo>
                <a:lnTo>
                  <a:pt x="6273" y="7385"/>
                </a:lnTo>
                <a:cubicBezTo>
                  <a:pt x="5894" y="6543"/>
                  <a:pt x="5789" y="5861"/>
                  <a:pt x="5789" y="5071"/>
                </a:cubicBezTo>
                <a:cubicBezTo>
                  <a:pt x="5789" y="3732"/>
                  <a:pt x="6062" y="3154"/>
                  <a:pt x="6407" y="3154"/>
                </a:cubicBezTo>
                <a:cubicBezTo>
                  <a:pt x="6641" y="3154"/>
                  <a:pt x="6905" y="3417"/>
                  <a:pt x="7163" y="3837"/>
                </a:cubicBezTo>
                <a:lnTo>
                  <a:pt x="7350" y="946"/>
                </a:lnTo>
                <a:cubicBezTo>
                  <a:pt x="7024" y="342"/>
                  <a:pt x="6728" y="0"/>
                  <a:pt x="6407" y="0"/>
                </a:cubicBezTo>
                <a:cubicBezTo>
                  <a:pt x="6033" y="0"/>
                  <a:pt x="5703" y="474"/>
                  <a:pt x="5473" y="1340"/>
                </a:cubicBezTo>
                <a:cubicBezTo>
                  <a:pt x="5219" y="2286"/>
                  <a:pt x="5076" y="3759"/>
                  <a:pt x="5076" y="5571"/>
                </a:cubicBezTo>
                <a:cubicBezTo>
                  <a:pt x="5076" y="7832"/>
                  <a:pt x="5301" y="9276"/>
                  <a:pt x="5794" y="10380"/>
                </a:cubicBezTo>
                <a:lnTo>
                  <a:pt x="6076" y="11011"/>
                </a:lnTo>
                <a:close/>
                <a:moveTo>
                  <a:pt x="10257" y="8803"/>
                </a:moveTo>
                <a:cubicBezTo>
                  <a:pt x="10132" y="9749"/>
                  <a:pt x="9931" y="10538"/>
                  <a:pt x="9668" y="11116"/>
                </a:cubicBezTo>
                <a:lnTo>
                  <a:pt x="10175" y="18316"/>
                </a:lnTo>
                <a:lnTo>
                  <a:pt x="9375" y="18316"/>
                </a:lnTo>
                <a:lnTo>
                  <a:pt x="8993" y="11799"/>
                </a:lnTo>
                <a:lnTo>
                  <a:pt x="8552" y="11799"/>
                </a:lnTo>
                <a:lnTo>
                  <a:pt x="8346" y="18316"/>
                </a:lnTo>
                <a:lnTo>
                  <a:pt x="7599" y="18316"/>
                </a:lnTo>
                <a:lnTo>
                  <a:pt x="8174" y="342"/>
                </a:lnTo>
                <a:lnTo>
                  <a:pt x="9289" y="342"/>
                </a:lnTo>
                <a:cubicBezTo>
                  <a:pt x="9696" y="342"/>
                  <a:pt x="9979" y="816"/>
                  <a:pt x="10156" y="1656"/>
                </a:cubicBezTo>
                <a:cubicBezTo>
                  <a:pt x="10352" y="2576"/>
                  <a:pt x="10434" y="3917"/>
                  <a:pt x="10434" y="5466"/>
                </a:cubicBezTo>
                <a:cubicBezTo>
                  <a:pt x="10434" y="6753"/>
                  <a:pt x="10376" y="7884"/>
                  <a:pt x="10257" y="8803"/>
                </a:cubicBezTo>
                <a:moveTo>
                  <a:pt x="8648" y="8830"/>
                </a:moveTo>
                <a:lnTo>
                  <a:pt x="8935" y="8830"/>
                </a:lnTo>
                <a:cubicBezTo>
                  <a:pt x="9165" y="8830"/>
                  <a:pt x="9371" y="8593"/>
                  <a:pt x="9510" y="7884"/>
                </a:cubicBezTo>
                <a:cubicBezTo>
                  <a:pt x="9620" y="7333"/>
                  <a:pt x="9692" y="6439"/>
                  <a:pt x="9692" y="5493"/>
                </a:cubicBezTo>
                <a:cubicBezTo>
                  <a:pt x="9692" y="4889"/>
                  <a:pt x="9663" y="4336"/>
                  <a:pt x="9596" y="3969"/>
                </a:cubicBezTo>
                <a:cubicBezTo>
                  <a:pt x="9519" y="3549"/>
                  <a:pt x="9400" y="3312"/>
                  <a:pt x="9198" y="3312"/>
                </a:cubicBezTo>
                <a:lnTo>
                  <a:pt x="8825" y="3312"/>
                </a:lnTo>
                <a:lnTo>
                  <a:pt x="8648" y="8830"/>
                </a:lnTo>
                <a:close/>
                <a:moveTo>
                  <a:pt x="12885" y="11169"/>
                </a:moveTo>
                <a:cubicBezTo>
                  <a:pt x="12828" y="12929"/>
                  <a:pt x="12746" y="13874"/>
                  <a:pt x="12651" y="14453"/>
                </a:cubicBezTo>
                <a:cubicBezTo>
                  <a:pt x="12555" y="15031"/>
                  <a:pt x="12387" y="15557"/>
                  <a:pt x="12134" y="15557"/>
                </a:cubicBezTo>
                <a:cubicBezTo>
                  <a:pt x="11928" y="15557"/>
                  <a:pt x="11779" y="15215"/>
                  <a:pt x="11688" y="14558"/>
                </a:cubicBezTo>
                <a:cubicBezTo>
                  <a:pt x="11612" y="14007"/>
                  <a:pt x="11588" y="13323"/>
                  <a:pt x="11588" y="12640"/>
                </a:cubicBezTo>
                <a:cubicBezTo>
                  <a:pt x="11588" y="12088"/>
                  <a:pt x="11602" y="11536"/>
                  <a:pt x="11621" y="10906"/>
                </a:cubicBezTo>
                <a:lnTo>
                  <a:pt x="11961" y="342"/>
                </a:lnTo>
                <a:lnTo>
                  <a:pt x="11229" y="342"/>
                </a:lnTo>
                <a:lnTo>
                  <a:pt x="10922" y="9855"/>
                </a:lnTo>
                <a:cubicBezTo>
                  <a:pt x="10884" y="11064"/>
                  <a:pt x="10865" y="12035"/>
                  <a:pt x="10865" y="12798"/>
                </a:cubicBezTo>
                <a:cubicBezTo>
                  <a:pt x="10865" y="14558"/>
                  <a:pt x="10970" y="16057"/>
                  <a:pt x="11190" y="17108"/>
                </a:cubicBezTo>
                <a:cubicBezTo>
                  <a:pt x="11415" y="18185"/>
                  <a:pt x="11741" y="18684"/>
                  <a:pt x="12114" y="18684"/>
                </a:cubicBezTo>
                <a:cubicBezTo>
                  <a:pt x="12454" y="18684"/>
                  <a:pt x="12809" y="18263"/>
                  <a:pt x="13077" y="17029"/>
                </a:cubicBezTo>
                <a:cubicBezTo>
                  <a:pt x="13283" y="16083"/>
                  <a:pt x="13441" y="14664"/>
                  <a:pt x="13513" y="12404"/>
                </a:cubicBezTo>
                <a:lnTo>
                  <a:pt x="13900" y="343"/>
                </a:lnTo>
                <a:lnTo>
                  <a:pt x="13230" y="343"/>
                </a:lnTo>
                <a:lnTo>
                  <a:pt x="12885" y="11169"/>
                </a:lnTo>
                <a:close/>
                <a:moveTo>
                  <a:pt x="14772" y="18316"/>
                </a:moveTo>
                <a:lnTo>
                  <a:pt x="14025" y="18316"/>
                </a:lnTo>
                <a:lnTo>
                  <a:pt x="14600" y="343"/>
                </a:lnTo>
                <a:lnTo>
                  <a:pt x="15644" y="343"/>
                </a:lnTo>
                <a:cubicBezTo>
                  <a:pt x="16084" y="343"/>
                  <a:pt x="16400" y="921"/>
                  <a:pt x="16587" y="1814"/>
                </a:cubicBezTo>
                <a:cubicBezTo>
                  <a:pt x="16735" y="2523"/>
                  <a:pt x="16855" y="3679"/>
                  <a:pt x="16855" y="5518"/>
                </a:cubicBezTo>
                <a:cubicBezTo>
                  <a:pt x="16855" y="7438"/>
                  <a:pt x="16721" y="9066"/>
                  <a:pt x="16524" y="10117"/>
                </a:cubicBezTo>
                <a:cubicBezTo>
                  <a:pt x="16261" y="11536"/>
                  <a:pt x="15859" y="12115"/>
                  <a:pt x="15352" y="12115"/>
                </a:cubicBezTo>
                <a:lnTo>
                  <a:pt x="14968" y="12115"/>
                </a:lnTo>
                <a:lnTo>
                  <a:pt x="14772" y="18316"/>
                </a:lnTo>
                <a:close/>
                <a:moveTo>
                  <a:pt x="15069" y="9039"/>
                </a:moveTo>
                <a:lnTo>
                  <a:pt x="15371" y="9039"/>
                </a:lnTo>
                <a:cubicBezTo>
                  <a:pt x="15581" y="9039"/>
                  <a:pt x="15759" y="8856"/>
                  <a:pt x="15897" y="8279"/>
                </a:cubicBezTo>
                <a:cubicBezTo>
                  <a:pt x="16046" y="7647"/>
                  <a:pt x="16113" y="6675"/>
                  <a:pt x="16113" y="5676"/>
                </a:cubicBezTo>
                <a:cubicBezTo>
                  <a:pt x="16113" y="4967"/>
                  <a:pt x="16079" y="4468"/>
                  <a:pt x="16027" y="4126"/>
                </a:cubicBezTo>
                <a:cubicBezTo>
                  <a:pt x="15955" y="3654"/>
                  <a:pt x="15821" y="3312"/>
                  <a:pt x="15576" y="3312"/>
                </a:cubicBezTo>
                <a:lnTo>
                  <a:pt x="15251" y="3312"/>
                </a:lnTo>
                <a:lnTo>
                  <a:pt x="15069" y="9039"/>
                </a:lnTo>
                <a:close/>
                <a:moveTo>
                  <a:pt x="18196" y="3312"/>
                </a:moveTo>
                <a:lnTo>
                  <a:pt x="17717" y="18316"/>
                </a:lnTo>
                <a:lnTo>
                  <a:pt x="18464" y="18316"/>
                </a:lnTo>
                <a:lnTo>
                  <a:pt x="18943" y="3312"/>
                </a:lnTo>
                <a:lnTo>
                  <a:pt x="19934" y="3312"/>
                </a:lnTo>
                <a:lnTo>
                  <a:pt x="20087" y="342"/>
                </a:lnTo>
                <a:lnTo>
                  <a:pt x="17276" y="342"/>
                </a:lnTo>
                <a:lnTo>
                  <a:pt x="17180" y="3312"/>
                </a:lnTo>
                <a:lnTo>
                  <a:pt x="18196" y="3312"/>
                </a:lnTo>
                <a:close/>
                <a:moveTo>
                  <a:pt x="21514" y="21600"/>
                </a:moveTo>
                <a:lnTo>
                  <a:pt x="21600" y="19052"/>
                </a:lnTo>
                <a:lnTo>
                  <a:pt x="19546" y="19052"/>
                </a:lnTo>
                <a:lnTo>
                  <a:pt x="19460" y="21600"/>
                </a:lnTo>
                <a:lnTo>
                  <a:pt x="21514" y="21600"/>
                </a:lnTo>
                <a:close/>
                <a:moveTo>
                  <a:pt x="21514" y="21600"/>
                </a:moveTo>
              </a:path>
            </a:pathLst>
          </a:custGeom>
          <a:solidFill>
            <a:schemeClr val="accent1">
              <a:alpha val="25000"/>
            </a:schemeClr>
          </a:solidFill>
          <a:ln>
            <a:noFill/>
          </a:ln>
        </p:spPr>
        <p:txBody>
          <a:bodyPr lIns="0" tIns="0" rIns="0" bIns="0"/>
          <a:lstStyle/>
          <a:p>
            <a:endParaRPr lang="es-ES">
              <a:solidFill>
                <a:srgbClr val="003245"/>
              </a:solidFill>
            </a:endParaRPr>
          </a:p>
        </p:txBody>
      </p:sp>
      <p:sp>
        <p:nvSpPr>
          <p:cNvPr id="21" name="AutoShape 3"/>
          <p:cNvSpPr>
            <a:spLocks noChangeAspect="1"/>
          </p:cNvSpPr>
          <p:nvPr userDrawn="1"/>
        </p:nvSpPr>
        <p:spPr bwMode="auto">
          <a:xfrm>
            <a:off x="6481013" y="476250"/>
            <a:ext cx="2405046" cy="423427"/>
          </a:xfrm>
          <a:custGeom>
            <a:avLst/>
            <a:gdLst>
              <a:gd name="T0" fmla="*/ 2763 w 21600"/>
              <a:gd name="T1" fmla="*/ 2391 h 21600"/>
              <a:gd name="T2" fmla="*/ 2514 w 21600"/>
              <a:gd name="T3" fmla="*/ 15636 h 21600"/>
              <a:gd name="T4" fmla="*/ 0 w 21600"/>
              <a:gd name="T5" fmla="*/ 18316 h 21600"/>
              <a:gd name="T6" fmla="*/ 1547 w 21600"/>
              <a:gd name="T7" fmla="*/ 342 h 21600"/>
              <a:gd name="T8" fmla="*/ 1092 w 21600"/>
              <a:gd name="T9" fmla="*/ 15320 h 21600"/>
              <a:gd name="T10" fmla="*/ 2279 w 21600"/>
              <a:gd name="T11" fmla="*/ 7438 h 21600"/>
              <a:gd name="T12" fmla="*/ 1527 w 21600"/>
              <a:gd name="T13" fmla="*/ 3338 h 21600"/>
              <a:gd name="T14" fmla="*/ 843 w 21600"/>
              <a:gd name="T15" fmla="*/ 15320 h 21600"/>
              <a:gd name="T16" fmla="*/ 4037 w 21600"/>
              <a:gd name="T17" fmla="*/ 18316 h 21600"/>
              <a:gd name="T18" fmla="*/ 3864 w 21600"/>
              <a:gd name="T19" fmla="*/ 342 h 21600"/>
              <a:gd name="T20" fmla="*/ 6076 w 21600"/>
              <a:gd name="T21" fmla="*/ 11011 h 21600"/>
              <a:gd name="T22" fmla="*/ 5818 w 21600"/>
              <a:gd name="T23" fmla="*/ 15531 h 21600"/>
              <a:gd name="T24" fmla="*/ 4717 w 21600"/>
              <a:gd name="T25" fmla="*/ 17606 h 21600"/>
              <a:gd name="T26" fmla="*/ 6843 w 21600"/>
              <a:gd name="T27" fmla="*/ 17186 h 21600"/>
              <a:gd name="T28" fmla="*/ 6555 w 21600"/>
              <a:gd name="T29" fmla="*/ 8015 h 21600"/>
              <a:gd name="T30" fmla="*/ 5789 w 21600"/>
              <a:gd name="T31" fmla="*/ 5071 h 21600"/>
              <a:gd name="T32" fmla="*/ 7163 w 21600"/>
              <a:gd name="T33" fmla="*/ 3837 h 21600"/>
              <a:gd name="T34" fmla="*/ 6407 w 21600"/>
              <a:gd name="T35" fmla="*/ 0 h 21600"/>
              <a:gd name="T36" fmla="*/ 5076 w 21600"/>
              <a:gd name="T37" fmla="*/ 5571 h 21600"/>
              <a:gd name="T38" fmla="*/ 6076 w 21600"/>
              <a:gd name="T39" fmla="*/ 11011 h 21600"/>
              <a:gd name="T40" fmla="*/ 9668 w 21600"/>
              <a:gd name="T41" fmla="*/ 11116 h 21600"/>
              <a:gd name="T42" fmla="*/ 9375 w 21600"/>
              <a:gd name="T43" fmla="*/ 18316 h 21600"/>
              <a:gd name="T44" fmla="*/ 8552 w 21600"/>
              <a:gd name="T45" fmla="*/ 11799 h 21600"/>
              <a:gd name="T46" fmla="*/ 7599 w 21600"/>
              <a:gd name="T47" fmla="*/ 18316 h 21600"/>
              <a:gd name="T48" fmla="*/ 9289 w 21600"/>
              <a:gd name="T49" fmla="*/ 342 h 21600"/>
              <a:gd name="T50" fmla="*/ 10434 w 21600"/>
              <a:gd name="T51" fmla="*/ 5466 h 21600"/>
              <a:gd name="T52" fmla="*/ 8648 w 21600"/>
              <a:gd name="T53" fmla="*/ 8830 h 21600"/>
              <a:gd name="T54" fmla="*/ 9510 w 21600"/>
              <a:gd name="T55" fmla="*/ 7884 h 21600"/>
              <a:gd name="T56" fmla="*/ 9596 w 21600"/>
              <a:gd name="T57" fmla="*/ 3969 h 21600"/>
              <a:gd name="T58" fmla="*/ 8825 w 21600"/>
              <a:gd name="T59" fmla="*/ 3312 h 21600"/>
              <a:gd name="T60" fmla="*/ 12885 w 21600"/>
              <a:gd name="T61" fmla="*/ 11169 h 21600"/>
              <a:gd name="T62" fmla="*/ 12134 w 21600"/>
              <a:gd name="T63" fmla="*/ 15557 h 21600"/>
              <a:gd name="T64" fmla="*/ 11588 w 21600"/>
              <a:gd name="T65" fmla="*/ 12640 h 21600"/>
              <a:gd name="T66" fmla="*/ 11961 w 21600"/>
              <a:gd name="T67" fmla="*/ 342 h 21600"/>
              <a:gd name="T68" fmla="*/ 10922 w 21600"/>
              <a:gd name="T69" fmla="*/ 9855 h 21600"/>
              <a:gd name="T70" fmla="*/ 11190 w 21600"/>
              <a:gd name="T71" fmla="*/ 17108 h 21600"/>
              <a:gd name="T72" fmla="*/ 13077 w 21600"/>
              <a:gd name="T73" fmla="*/ 17029 h 21600"/>
              <a:gd name="T74" fmla="*/ 13900 w 21600"/>
              <a:gd name="T75" fmla="*/ 343 h 21600"/>
              <a:gd name="T76" fmla="*/ 12885 w 21600"/>
              <a:gd name="T77" fmla="*/ 11169 h 21600"/>
              <a:gd name="T78" fmla="*/ 14025 w 21600"/>
              <a:gd name="T79" fmla="*/ 18316 h 21600"/>
              <a:gd name="T80" fmla="*/ 15644 w 21600"/>
              <a:gd name="T81" fmla="*/ 343 h 21600"/>
              <a:gd name="T82" fmla="*/ 16855 w 21600"/>
              <a:gd name="T83" fmla="*/ 5518 h 21600"/>
              <a:gd name="T84" fmla="*/ 15352 w 21600"/>
              <a:gd name="T85" fmla="*/ 12115 h 21600"/>
              <a:gd name="T86" fmla="*/ 14772 w 21600"/>
              <a:gd name="T87" fmla="*/ 18316 h 21600"/>
              <a:gd name="T88" fmla="*/ 15371 w 21600"/>
              <a:gd name="T89" fmla="*/ 9039 h 21600"/>
              <a:gd name="T90" fmla="*/ 16113 w 21600"/>
              <a:gd name="T91" fmla="*/ 5676 h 21600"/>
              <a:gd name="T92" fmla="*/ 15576 w 21600"/>
              <a:gd name="T93" fmla="*/ 3312 h 21600"/>
              <a:gd name="T94" fmla="*/ 15069 w 21600"/>
              <a:gd name="T95" fmla="*/ 9039 h 21600"/>
              <a:gd name="T96" fmla="*/ 17717 w 21600"/>
              <a:gd name="T97" fmla="*/ 18316 h 21600"/>
              <a:gd name="T98" fmla="*/ 18943 w 21600"/>
              <a:gd name="T99" fmla="*/ 3312 h 21600"/>
              <a:gd name="T100" fmla="*/ 20087 w 21600"/>
              <a:gd name="T101" fmla="*/ 342 h 21600"/>
              <a:gd name="T102" fmla="*/ 17180 w 21600"/>
              <a:gd name="T103" fmla="*/ 3312 h 21600"/>
              <a:gd name="T104" fmla="*/ 21514 w 21600"/>
              <a:gd name="T105" fmla="*/ 21600 h 21600"/>
              <a:gd name="T106" fmla="*/ 19546 w 21600"/>
              <a:gd name="T107" fmla="*/ 19052 h 21600"/>
              <a:gd name="T108" fmla="*/ 21514 w 21600"/>
              <a:gd name="T109"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600" h="21600">
                <a:moveTo>
                  <a:pt x="1547" y="342"/>
                </a:moveTo>
                <a:cubicBezTo>
                  <a:pt x="2035" y="342"/>
                  <a:pt x="2490" y="815"/>
                  <a:pt x="2763" y="2391"/>
                </a:cubicBezTo>
                <a:cubicBezTo>
                  <a:pt x="2978" y="3627"/>
                  <a:pt x="3050" y="5335"/>
                  <a:pt x="3050" y="7358"/>
                </a:cubicBezTo>
                <a:cubicBezTo>
                  <a:pt x="3050" y="10564"/>
                  <a:pt x="2873" y="13612"/>
                  <a:pt x="2514" y="15636"/>
                </a:cubicBezTo>
                <a:cubicBezTo>
                  <a:pt x="2136" y="17763"/>
                  <a:pt x="1609" y="18316"/>
                  <a:pt x="1015" y="18316"/>
                </a:cubicBezTo>
                <a:lnTo>
                  <a:pt x="0" y="18316"/>
                </a:lnTo>
                <a:lnTo>
                  <a:pt x="575" y="342"/>
                </a:lnTo>
                <a:lnTo>
                  <a:pt x="1547" y="342"/>
                </a:lnTo>
                <a:close/>
                <a:moveTo>
                  <a:pt x="843" y="15320"/>
                </a:moveTo>
                <a:lnTo>
                  <a:pt x="1092" y="15320"/>
                </a:lnTo>
                <a:cubicBezTo>
                  <a:pt x="1499" y="15320"/>
                  <a:pt x="1767" y="14768"/>
                  <a:pt x="1977" y="13113"/>
                </a:cubicBezTo>
                <a:cubicBezTo>
                  <a:pt x="2150" y="11746"/>
                  <a:pt x="2279" y="9670"/>
                  <a:pt x="2279" y="7438"/>
                </a:cubicBezTo>
                <a:cubicBezTo>
                  <a:pt x="2279" y="6070"/>
                  <a:pt x="2231" y="5099"/>
                  <a:pt x="2121" y="4414"/>
                </a:cubicBezTo>
                <a:cubicBezTo>
                  <a:pt x="2006" y="3706"/>
                  <a:pt x="1824" y="3338"/>
                  <a:pt x="1527" y="3338"/>
                </a:cubicBezTo>
                <a:lnTo>
                  <a:pt x="1226" y="3338"/>
                </a:lnTo>
                <a:lnTo>
                  <a:pt x="843" y="15320"/>
                </a:lnTo>
                <a:close/>
                <a:moveTo>
                  <a:pt x="3290" y="18316"/>
                </a:moveTo>
                <a:lnTo>
                  <a:pt x="4037" y="18316"/>
                </a:lnTo>
                <a:lnTo>
                  <a:pt x="4611" y="342"/>
                </a:lnTo>
                <a:lnTo>
                  <a:pt x="3864" y="342"/>
                </a:lnTo>
                <a:lnTo>
                  <a:pt x="3290" y="18316"/>
                </a:lnTo>
                <a:close/>
                <a:moveTo>
                  <a:pt x="6076" y="11011"/>
                </a:moveTo>
                <a:cubicBezTo>
                  <a:pt x="6373" y="11668"/>
                  <a:pt x="6493" y="12298"/>
                  <a:pt x="6493" y="13296"/>
                </a:cubicBezTo>
                <a:cubicBezTo>
                  <a:pt x="6493" y="15084"/>
                  <a:pt x="6124" y="15531"/>
                  <a:pt x="5818" y="15531"/>
                </a:cubicBezTo>
                <a:cubicBezTo>
                  <a:pt x="5502" y="15531"/>
                  <a:pt x="5133" y="15110"/>
                  <a:pt x="4865" y="14558"/>
                </a:cubicBezTo>
                <a:lnTo>
                  <a:pt x="4717" y="17606"/>
                </a:lnTo>
                <a:cubicBezTo>
                  <a:pt x="5085" y="18342"/>
                  <a:pt x="5463" y="18684"/>
                  <a:pt x="5813" y="18684"/>
                </a:cubicBezTo>
                <a:cubicBezTo>
                  <a:pt x="6234" y="18684"/>
                  <a:pt x="6589" y="18185"/>
                  <a:pt x="6843" y="17186"/>
                </a:cubicBezTo>
                <a:cubicBezTo>
                  <a:pt x="7115" y="16109"/>
                  <a:pt x="7221" y="14558"/>
                  <a:pt x="7221" y="12877"/>
                </a:cubicBezTo>
                <a:cubicBezTo>
                  <a:pt x="7221" y="10564"/>
                  <a:pt x="7015" y="9039"/>
                  <a:pt x="6555" y="8015"/>
                </a:cubicBezTo>
                <a:lnTo>
                  <a:pt x="6273" y="7385"/>
                </a:lnTo>
                <a:cubicBezTo>
                  <a:pt x="5894" y="6543"/>
                  <a:pt x="5789" y="5861"/>
                  <a:pt x="5789" y="5071"/>
                </a:cubicBezTo>
                <a:cubicBezTo>
                  <a:pt x="5789" y="3732"/>
                  <a:pt x="6062" y="3154"/>
                  <a:pt x="6407" y="3154"/>
                </a:cubicBezTo>
                <a:cubicBezTo>
                  <a:pt x="6641" y="3154"/>
                  <a:pt x="6905" y="3417"/>
                  <a:pt x="7163" y="3837"/>
                </a:cubicBezTo>
                <a:lnTo>
                  <a:pt x="7350" y="946"/>
                </a:lnTo>
                <a:cubicBezTo>
                  <a:pt x="7024" y="342"/>
                  <a:pt x="6728" y="0"/>
                  <a:pt x="6407" y="0"/>
                </a:cubicBezTo>
                <a:cubicBezTo>
                  <a:pt x="6033" y="0"/>
                  <a:pt x="5703" y="474"/>
                  <a:pt x="5473" y="1340"/>
                </a:cubicBezTo>
                <a:cubicBezTo>
                  <a:pt x="5219" y="2286"/>
                  <a:pt x="5076" y="3759"/>
                  <a:pt x="5076" y="5571"/>
                </a:cubicBezTo>
                <a:cubicBezTo>
                  <a:pt x="5076" y="7832"/>
                  <a:pt x="5301" y="9276"/>
                  <a:pt x="5794" y="10380"/>
                </a:cubicBezTo>
                <a:lnTo>
                  <a:pt x="6076" y="11011"/>
                </a:lnTo>
                <a:close/>
                <a:moveTo>
                  <a:pt x="10257" y="8803"/>
                </a:moveTo>
                <a:cubicBezTo>
                  <a:pt x="10132" y="9749"/>
                  <a:pt x="9931" y="10538"/>
                  <a:pt x="9668" y="11116"/>
                </a:cubicBezTo>
                <a:lnTo>
                  <a:pt x="10175" y="18316"/>
                </a:lnTo>
                <a:lnTo>
                  <a:pt x="9375" y="18316"/>
                </a:lnTo>
                <a:lnTo>
                  <a:pt x="8993" y="11799"/>
                </a:lnTo>
                <a:lnTo>
                  <a:pt x="8552" y="11799"/>
                </a:lnTo>
                <a:lnTo>
                  <a:pt x="8346" y="18316"/>
                </a:lnTo>
                <a:lnTo>
                  <a:pt x="7599" y="18316"/>
                </a:lnTo>
                <a:lnTo>
                  <a:pt x="8174" y="342"/>
                </a:lnTo>
                <a:lnTo>
                  <a:pt x="9289" y="342"/>
                </a:lnTo>
                <a:cubicBezTo>
                  <a:pt x="9696" y="342"/>
                  <a:pt x="9979" y="816"/>
                  <a:pt x="10156" y="1656"/>
                </a:cubicBezTo>
                <a:cubicBezTo>
                  <a:pt x="10352" y="2576"/>
                  <a:pt x="10434" y="3917"/>
                  <a:pt x="10434" y="5466"/>
                </a:cubicBezTo>
                <a:cubicBezTo>
                  <a:pt x="10434" y="6753"/>
                  <a:pt x="10376" y="7884"/>
                  <a:pt x="10257" y="8803"/>
                </a:cubicBezTo>
                <a:moveTo>
                  <a:pt x="8648" y="8830"/>
                </a:moveTo>
                <a:lnTo>
                  <a:pt x="8935" y="8830"/>
                </a:lnTo>
                <a:cubicBezTo>
                  <a:pt x="9165" y="8830"/>
                  <a:pt x="9371" y="8593"/>
                  <a:pt x="9510" y="7884"/>
                </a:cubicBezTo>
                <a:cubicBezTo>
                  <a:pt x="9620" y="7333"/>
                  <a:pt x="9692" y="6439"/>
                  <a:pt x="9692" y="5493"/>
                </a:cubicBezTo>
                <a:cubicBezTo>
                  <a:pt x="9692" y="4889"/>
                  <a:pt x="9663" y="4336"/>
                  <a:pt x="9596" y="3969"/>
                </a:cubicBezTo>
                <a:cubicBezTo>
                  <a:pt x="9519" y="3549"/>
                  <a:pt x="9400" y="3312"/>
                  <a:pt x="9198" y="3312"/>
                </a:cubicBezTo>
                <a:lnTo>
                  <a:pt x="8825" y="3312"/>
                </a:lnTo>
                <a:lnTo>
                  <a:pt x="8648" y="8830"/>
                </a:lnTo>
                <a:close/>
                <a:moveTo>
                  <a:pt x="12885" y="11169"/>
                </a:moveTo>
                <a:cubicBezTo>
                  <a:pt x="12828" y="12929"/>
                  <a:pt x="12746" y="13874"/>
                  <a:pt x="12651" y="14453"/>
                </a:cubicBezTo>
                <a:cubicBezTo>
                  <a:pt x="12555" y="15031"/>
                  <a:pt x="12387" y="15557"/>
                  <a:pt x="12134" y="15557"/>
                </a:cubicBezTo>
                <a:cubicBezTo>
                  <a:pt x="11928" y="15557"/>
                  <a:pt x="11779" y="15215"/>
                  <a:pt x="11688" y="14558"/>
                </a:cubicBezTo>
                <a:cubicBezTo>
                  <a:pt x="11612" y="14007"/>
                  <a:pt x="11588" y="13323"/>
                  <a:pt x="11588" y="12640"/>
                </a:cubicBezTo>
                <a:cubicBezTo>
                  <a:pt x="11588" y="12088"/>
                  <a:pt x="11602" y="11536"/>
                  <a:pt x="11621" y="10906"/>
                </a:cubicBezTo>
                <a:lnTo>
                  <a:pt x="11961" y="342"/>
                </a:lnTo>
                <a:lnTo>
                  <a:pt x="11229" y="342"/>
                </a:lnTo>
                <a:lnTo>
                  <a:pt x="10922" y="9855"/>
                </a:lnTo>
                <a:cubicBezTo>
                  <a:pt x="10884" y="11064"/>
                  <a:pt x="10865" y="12035"/>
                  <a:pt x="10865" y="12798"/>
                </a:cubicBezTo>
                <a:cubicBezTo>
                  <a:pt x="10865" y="14558"/>
                  <a:pt x="10970" y="16057"/>
                  <a:pt x="11190" y="17108"/>
                </a:cubicBezTo>
                <a:cubicBezTo>
                  <a:pt x="11415" y="18185"/>
                  <a:pt x="11741" y="18684"/>
                  <a:pt x="12114" y="18684"/>
                </a:cubicBezTo>
                <a:cubicBezTo>
                  <a:pt x="12454" y="18684"/>
                  <a:pt x="12809" y="18263"/>
                  <a:pt x="13077" y="17029"/>
                </a:cubicBezTo>
                <a:cubicBezTo>
                  <a:pt x="13283" y="16083"/>
                  <a:pt x="13441" y="14664"/>
                  <a:pt x="13513" y="12404"/>
                </a:cubicBezTo>
                <a:lnTo>
                  <a:pt x="13900" y="343"/>
                </a:lnTo>
                <a:lnTo>
                  <a:pt x="13230" y="343"/>
                </a:lnTo>
                <a:lnTo>
                  <a:pt x="12885" y="11169"/>
                </a:lnTo>
                <a:close/>
                <a:moveTo>
                  <a:pt x="14772" y="18316"/>
                </a:moveTo>
                <a:lnTo>
                  <a:pt x="14025" y="18316"/>
                </a:lnTo>
                <a:lnTo>
                  <a:pt x="14600" y="343"/>
                </a:lnTo>
                <a:lnTo>
                  <a:pt x="15644" y="343"/>
                </a:lnTo>
                <a:cubicBezTo>
                  <a:pt x="16084" y="343"/>
                  <a:pt x="16400" y="921"/>
                  <a:pt x="16587" y="1814"/>
                </a:cubicBezTo>
                <a:cubicBezTo>
                  <a:pt x="16735" y="2523"/>
                  <a:pt x="16855" y="3679"/>
                  <a:pt x="16855" y="5518"/>
                </a:cubicBezTo>
                <a:cubicBezTo>
                  <a:pt x="16855" y="7438"/>
                  <a:pt x="16721" y="9066"/>
                  <a:pt x="16524" y="10117"/>
                </a:cubicBezTo>
                <a:cubicBezTo>
                  <a:pt x="16261" y="11536"/>
                  <a:pt x="15859" y="12115"/>
                  <a:pt x="15352" y="12115"/>
                </a:cubicBezTo>
                <a:lnTo>
                  <a:pt x="14968" y="12115"/>
                </a:lnTo>
                <a:lnTo>
                  <a:pt x="14772" y="18316"/>
                </a:lnTo>
                <a:close/>
                <a:moveTo>
                  <a:pt x="15069" y="9039"/>
                </a:moveTo>
                <a:lnTo>
                  <a:pt x="15371" y="9039"/>
                </a:lnTo>
                <a:cubicBezTo>
                  <a:pt x="15581" y="9039"/>
                  <a:pt x="15759" y="8856"/>
                  <a:pt x="15897" y="8279"/>
                </a:cubicBezTo>
                <a:cubicBezTo>
                  <a:pt x="16046" y="7647"/>
                  <a:pt x="16113" y="6675"/>
                  <a:pt x="16113" y="5676"/>
                </a:cubicBezTo>
                <a:cubicBezTo>
                  <a:pt x="16113" y="4967"/>
                  <a:pt x="16079" y="4468"/>
                  <a:pt x="16027" y="4126"/>
                </a:cubicBezTo>
                <a:cubicBezTo>
                  <a:pt x="15955" y="3654"/>
                  <a:pt x="15821" y="3312"/>
                  <a:pt x="15576" y="3312"/>
                </a:cubicBezTo>
                <a:lnTo>
                  <a:pt x="15251" y="3312"/>
                </a:lnTo>
                <a:lnTo>
                  <a:pt x="15069" y="9039"/>
                </a:lnTo>
                <a:close/>
                <a:moveTo>
                  <a:pt x="18196" y="3312"/>
                </a:moveTo>
                <a:lnTo>
                  <a:pt x="17717" y="18316"/>
                </a:lnTo>
                <a:lnTo>
                  <a:pt x="18464" y="18316"/>
                </a:lnTo>
                <a:lnTo>
                  <a:pt x="18943" y="3312"/>
                </a:lnTo>
                <a:lnTo>
                  <a:pt x="19934" y="3312"/>
                </a:lnTo>
                <a:lnTo>
                  <a:pt x="20087" y="342"/>
                </a:lnTo>
                <a:lnTo>
                  <a:pt x="17276" y="342"/>
                </a:lnTo>
                <a:lnTo>
                  <a:pt x="17180" y="3312"/>
                </a:lnTo>
                <a:lnTo>
                  <a:pt x="18196" y="3312"/>
                </a:lnTo>
                <a:close/>
                <a:moveTo>
                  <a:pt x="21514" y="21600"/>
                </a:moveTo>
                <a:lnTo>
                  <a:pt x="21600" y="19052"/>
                </a:lnTo>
                <a:lnTo>
                  <a:pt x="19546" y="19052"/>
                </a:lnTo>
                <a:lnTo>
                  <a:pt x="19460" y="21600"/>
                </a:lnTo>
                <a:lnTo>
                  <a:pt x="21514" y="21600"/>
                </a:lnTo>
                <a:close/>
                <a:moveTo>
                  <a:pt x="21514" y="21600"/>
                </a:moveTo>
              </a:path>
            </a:pathLst>
          </a:custGeom>
          <a:solidFill>
            <a:schemeClr val="accent1">
              <a:alpha val="60000"/>
            </a:schemeClr>
          </a:solidFill>
          <a:ln>
            <a:noFill/>
          </a:ln>
        </p:spPr>
        <p:txBody>
          <a:bodyPr lIns="0" tIns="0" rIns="0" bIns="0"/>
          <a:lstStyle/>
          <a:p>
            <a:endParaRPr lang="es-ES">
              <a:solidFill>
                <a:srgbClr val="003245"/>
              </a:solidFill>
            </a:endParaRPr>
          </a:p>
        </p:txBody>
      </p:sp>
      <p:grpSp>
        <p:nvGrpSpPr>
          <p:cNvPr id="15" name="Grupo 14"/>
          <p:cNvGrpSpPr/>
          <p:nvPr userDrawn="1"/>
        </p:nvGrpSpPr>
        <p:grpSpPr>
          <a:xfrm>
            <a:off x="58864" y="6464175"/>
            <a:ext cx="2103461" cy="359735"/>
            <a:chOff x="58864" y="6464175"/>
            <a:chExt cx="2103461" cy="359735"/>
          </a:xfrm>
        </p:grpSpPr>
        <p:grpSp>
          <p:nvGrpSpPr>
            <p:cNvPr id="16" name="Group 4"/>
            <p:cNvGrpSpPr>
              <a:grpSpLocks/>
            </p:cNvGrpSpPr>
            <p:nvPr userDrawn="1"/>
          </p:nvGrpSpPr>
          <p:grpSpPr bwMode="auto">
            <a:xfrm>
              <a:off x="179512" y="6464175"/>
              <a:ext cx="888250" cy="136799"/>
              <a:chOff x="-14" y="12"/>
              <a:chExt cx="605" cy="99"/>
            </a:xfrm>
          </p:grpSpPr>
          <p:sp>
            <p:nvSpPr>
              <p:cNvPr id="18" name="AutoShape 2"/>
              <p:cNvSpPr>
                <a:spLocks/>
              </p:cNvSpPr>
              <p:nvPr/>
            </p:nvSpPr>
            <p:spPr bwMode="auto">
              <a:xfrm>
                <a:off x="-14" y="12"/>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sp>
            <p:nvSpPr>
              <p:cNvPr id="19"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21600"/>
                    </a:moveTo>
                    <a:lnTo>
                      <a:pt x="870" y="0"/>
                    </a:lnTo>
                    <a:lnTo>
                      <a:pt x="21600" y="0"/>
                    </a:lnTo>
                    <a:lnTo>
                      <a:pt x="20730" y="21600"/>
                    </a:lnTo>
                    <a:lnTo>
                      <a:pt x="0" y="21600"/>
                    </a:lnTo>
                    <a:close/>
                    <a:moveTo>
                      <a:pt x="0" y="21600"/>
                    </a:moveTo>
                  </a:path>
                </a:pathLst>
              </a:custGeom>
              <a:solidFill>
                <a:srgbClr val="7DFE9D"/>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grpSp>
        <p:sp>
          <p:nvSpPr>
            <p:cNvPr id="17" name="22 CuadroTexto"/>
            <p:cNvSpPr txBox="1"/>
            <p:nvPr userDrawn="1"/>
          </p:nvSpPr>
          <p:spPr>
            <a:xfrm>
              <a:off x="58864" y="6577689"/>
              <a:ext cx="2103461" cy="246221"/>
            </a:xfrm>
            <a:prstGeom prst="rect">
              <a:avLst/>
            </a:prstGeom>
            <a:noFill/>
          </p:spPr>
          <p:txBody>
            <a:bodyPr wrap="none" rtlCol="0">
              <a:spAutoFit/>
            </a:bodyPr>
            <a:lstStyle/>
            <a:p>
              <a:r>
                <a:rPr lang="en-US" sz="1000" b="0" i="1" noProof="0" dirty="0" smtClean="0">
                  <a:solidFill>
                    <a:schemeClr val="accent5">
                      <a:lumMod val="75000"/>
                    </a:schemeClr>
                  </a:solidFill>
                  <a:latin typeface="Arial" panose="020B0604020202020204" pitchFamily="34" charset="0"/>
                  <a:cs typeface="Arial" panose="020B0604020202020204" pitchFamily="34" charset="0"/>
                </a:rPr>
                <a:t>DISCOVER</a:t>
              </a:r>
              <a:r>
                <a:rPr lang="en-US" sz="1000" b="0" i="1" dirty="0" smtClean="0">
                  <a:solidFill>
                    <a:schemeClr val="accent5">
                      <a:lumMod val="75000"/>
                    </a:schemeClr>
                  </a:solidFill>
                  <a:latin typeface="Arial" panose="020B0604020202020204" pitchFamily="34" charset="0"/>
                  <a:cs typeface="Arial" panose="020B0604020202020204" pitchFamily="34" charset="0"/>
                </a:rPr>
                <a:t>, DISRUPT, DELIVER</a:t>
              </a:r>
              <a:endParaRPr lang="en-US" sz="1000" b="0" i="1" dirty="0">
                <a:solidFill>
                  <a:schemeClr val="accent5">
                    <a:lumMod val="7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28444751"/>
      </p:ext>
    </p:extLst>
  </p:cSld>
  <p:clrMap bg1="lt1" tx1="dk1" bg2="lt2" tx2="dk2" accent1="accent1" accent2="accent2" accent3="accent3" accent4="accent4" accent5="accent5" accent6="accent6" hlink="hlink" folHlink="folHlink"/>
  <p:sldLayoutIdLst>
    <p:sldLayoutId id="2147483758" r:id="rId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800">
          <a:solidFill>
            <a:srgbClr val="17B4C6"/>
          </a:solidFill>
          <a:latin typeface="+mj-lt"/>
          <a:ea typeface="+mj-ea"/>
          <a:cs typeface="+mj-cs"/>
          <a:sym typeface="Gill Sans" pitchFamily="122"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1pPr>
      <a:lvl2pPr marL="1333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2pPr>
      <a:lvl3pPr marL="1778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3pPr>
      <a:lvl4pPr marL="2222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4pPr>
      <a:lvl5pPr marL="2667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5pPr>
      <a:lvl6pPr marL="31242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6pPr>
      <a:lvl7pPr marL="35814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7pPr>
      <a:lvl8pPr marL="40386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8pPr>
      <a:lvl9pPr marL="44958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47" name="AutoShape 5"/>
          <p:cNvSpPr>
            <a:spLocks/>
          </p:cNvSpPr>
          <p:nvPr/>
        </p:nvSpPr>
        <p:spPr bwMode="auto">
          <a:xfrm>
            <a:off x="8028844" y="6502400"/>
            <a:ext cx="830873" cy="249238"/>
          </a:xfrm>
          <a:custGeom>
            <a:avLst/>
            <a:gdLst>
              <a:gd name="T0" fmla="*/ 0 w 21600"/>
              <a:gd name="T1" fmla="*/ 892206852 h 21600"/>
              <a:gd name="T2" fmla="*/ 2147483647 w 21600"/>
              <a:gd name="T3" fmla="*/ 141473318 h 21600"/>
              <a:gd name="T4" fmla="*/ 2147483647 w 21600"/>
              <a:gd name="T5" fmla="*/ 96575026 h 21600"/>
              <a:gd name="T6" fmla="*/ 2147483647 w 21600"/>
              <a:gd name="T7" fmla="*/ 275193756 h 21600"/>
              <a:gd name="T8" fmla="*/ 2147483647 w 21600"/>
              <a:gd name="T9" fmla="*/ 59300706 h 21600"/>
              <a:gd name="T10" fmla="*/ 2147483647 w 21600"/>
              <a:gd name="T11" fmla="*/ 702363606 h 21600"/>
              <a:gd name="T12" fmla="*/ 2147483647 w 21600"/>
              <a:gd name="T13" fmla="*/ 341566847 h 21600"/>
              <a:gd name="T14" fmla="*/ 2147483647 w 21600"/>
              <a:gd name="T15" fmla="*/ 6989884 h 21600"/>
              <a:gd name="T16" fmla="*/ 2147483647 w 21600"/>
              <a:gd name="T17" fmla="*/ 12835521 h 21600"/>
              <a:gd name="T18" fmla="*/ 2147483647 w 21600"/>
              <a:gd name="T19" fmla="*/ 406713202 h 21600"/>
              <a:gd name="T20" fmla="*/ 2147483647 w 21600"/>
              <a:gd name="T21" fmla="*/ 446866336 h 21600"/>
              <a:gd name="T22" fmla="*/ 2147483647 w 21600"/>
              <a:gd name="T23" fmla="*/ 193528986 h 21600"/>
              <a:gd name="T24" fmla="*/ 2147483647 w 21600"/>
              <a:gd name="T25" fmla="*/ 592022721 h 21600"/>
              <a:gd name="T26" fmla="*/ 2147483647 w 21600"/>
              <a:gd name="T27" fmla="*/ 635735349 h 21600"/>
              <a:gd name="T28" fmla="*/ 2147483647 w 21600"/>
              <a:gd name="T29" fmla="*/ 421156883 h 21600"/>
              <a:gd name="T30" fmla="*/ 2147483647 w 21600"/>
              <a:gd name="T31" fmla="*/ 88484663 h 21600"/>
              <a:gd name="T32" fmla="*/ 2147483647 w 21600"/>
              <a:gd name="T33" fmla="*/ 232540374 h 21600"/>
              <a:gd name="T34" fmla="*/ 2147483647 w 21600"/>
              <a:gd name="T35" fmla="*/ 232540374 h 21600"/>
              <a:gd name="T36" fmla="*/ 2147483647 w 21600"/>
              <a:gd name="T37" fmla="*/ 528997692 h 21600"/>
              <a:gd name="T38" fmla="*/ 2147483647 w 21600"/>
              <a:gd name="T39" fmla="*/ 523871306 h 21600"/>
              <a:gd name="T40" fmla="*/ 2147483647 w 21600"/>
              <a:gd name="T41" fmla="*/ 493754362 h 21600"/>
              <a:gd name="T42" fmla="*/ 2147483647 w 21600"/>
              <a:gd name="T43" fmla="*/ 631585869 h 21600"/>
              <a:gd name="T44" fmla="*/ 2147483647 w 21600"/>
              <a:gd name="T45" fmla="*/ 201322939 h 21600"/>
              <a:gd name="T46" fmla="*/ 2147483647 w 21600"/>
              <a:gd name="T47" fmla="*/ 482658754 h 21600"/>
              <a:gd name="T48" fmla="*/ 2147483647 w 21600"/>
              <a:gd name="T49" fmla="*/ 231014554 h 21600"/>
              <a:gd name="T50" fmla="*/ 2147483647 w 21600"/>
              <a:gd name="T51" fmla="*/ 318228550 h 21600"/>
              <a:gd name="T52" fmla="*/ 2147483647 w 21600"/>
              <a:gd name="T53" fmla="*/ 277015998 h 21600"/>
              <a:gd name="T54" fmla="*/ 2147483647 w 21600"/>
              <a:gd name="T55" fmla="*/ 522811888 h 21600"/>
              <a:gd name="T56" fmla="*/ 2147483647 w 21600"/>
              <a:gd name="T57" fmla="*/ 219323441 h 21600"/>
              <a:gd name="T58" fmla="*/ 2147483647 w 21600"/>
              <a:gd name="T59" fmla="*/ 536451489 h 21600"/>
              <a:gd name="T60" fmla="*/ 2147483647 w 21600"/>
              <a:gd name="T61" fmla="*/ 359611267 h 21600"/>
              <a:gd name="T62" fmla="*/ 2147483647 w 21600"/>
              <a:gd name="T63" fmla="*/ 245035739 h 21600"/>
              <a:gd name="T64" fmla="*/ 2147483647 w 21600"/>
              <a:gd name="T65" fmla="*/ 482658754 h 21600"/>
              <a:gd name="T66" fmla="*/ 2147483647 w 21600"/>
              <a:gd name="T67" fmla="*/ 710539155 h 21600"/>
              <a:gd name="T68" fmla="*/ 2147483647 w 21600"/>
              <a:gd name="T69" fmla="*/ 238512269 h 21600"/>
              <a:gd name="T70" fmla="*/ 2147483647 w 21600"/>
              <a:gd name="T71" fmla="*/ 386550130 h 21600"/>
              <a:gd name="T72" fmla="*/ 2147483647 w 21600"/>
              <a:gd name="T73" fmla="*/ 290400434 h 21600"/>
              <a:gd name="T74" fmla="*/ 2147483647 w 21600"/>
              <a:gd name="T75" fmla="*/ 415056069 h 21600"/>
              <a:gd name="T76" fmla="*/ 2147483647 w 21600"/>
              <a:gd name="T77" fmla="*/ 544753284 h 21600"/>
              <a:gd name="T78" fmla="*/ 2147483647 w 21600"/>
              <a:gd name="T79" fmla="*/ 589991905 h 21600"/>
              <a:gd name="T80" fmla="*/ 2147483647 w 21600"/>
              <a:gd name="T81" fmla="*/ 201067773 h 21600"/>
              <a:gd name="T82" fmla="*/ 2147483647 w 21600"/>
              <a:gd name="T83" fmla="*/ 231736294 h 21600"/>
              <a:gd name="T84" fmla="*/ 2147483647 w 21600"/>
              <a:gd name="T85" fmla="*/ 241690339 h 21600"/>
              <a:gd name="T86" fmla="*/ 2147483647 w 21600"/>
              <a:gd name="T87" fmla="*/ 501633500 h 21600"/>
              <a:gd name="T88" fmla="*/ 2147483647 w 21600"/>
              <a:gd name="T89" fmla="*/ 202171109 h 21600"/>
              <a:gd name="T90" fmla="*/ 2147483647 w 21600"/>
              <a:gd name="T91" fmla="*/ 34859246 h 21600"/>
              <a:gd name="T92" fmla="*/ 2147483647 w 21600"/>
              <a:gd name="T93" fmla="*/ 161040897 h 21600"/>
              <a:gd name="T94" fmla="*/ 2147483647 w 21600"/>
              <a:gd name="T95" fmla="*/ 209369568 h 21600"/>
              <a:gd name="T96" fmla="*/ 2147483647 w 21600"/>
              <a:gd name="T97" fmla="*/ 245966066 h 21600"/>
              <a:gd name="T98" fmla="*/ 2147483647 w 21600"/>
              <a:gd name="T99" fmla="*/ 501592243 h 21600"/>
              <a:gd name="T100" fmla="*/ 2147483647 w 21600"/>
              <a:gd name="T101" fmla="*/ 239486513 h 21600"/>
              <a:gd name="T102" fmla="*/ 2147483647 w 21600"/>
              <a:gd name="T103" fmla="*/ 497651349 h 21600"/>
              <a:gd name="T104" fmla="*/ 2147483647 w 21600"/>
              <a:gd name="T105" fmla="*/ 415522655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rgbClr val="003346"/>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solidFill>
                <a:srgbClr val="003245"/>
              </a:solidFill>
            </a:endParaRPr>
          </a:p>
        </p:txBody>
      </p:sp>
      <p:sp>
        <p:nvSpPr>
          <p:cNvPr id="6148" name="Rectangle 13"/>
          <p:cNvSpPr>
            <a:spLocks/>
          </p:cNvSpPr>
          <p:nvPr/>
        </p:nvSpPr>
        <p:spPr bwMode="auto">
          <a:xfrm rot="10800000">
            <a:off x="7164292" y="6332538"/>
            <a:ext cx="864577" cy="49212"/>
          </a:xfrm>
          <a:prstGeom prst="rect">
            <a:avLst/>
          </a:prstGeom>
          <a:solidFill>
            <a:srgbClr val="156273"/>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49" name="Rectangle 12"/>
          <p:cNvSpPr>
            <a:spLocks/>
          </p:cNvSpPr>
          <p:nvPr/>
        </p:nvSpPr>
        <p:spPr bwMode="auto">
          <a:xfrm rot="10800000">
            <a:off x="8015680" y="6332538"/>
            <a:ext cx="1122485" cy="49212"/>
          </a:xfrm>
          <a:prstGeom prst="rect">
            <a:avLst/>
          </a:prstGeom>
          <a:solidFill>
            <a:srgbClr val="115362"/>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0" name="Rectangle 14"/>
          <p:cNvSpPr>
            <a:spLocks/>
          </p:cNvSpPr>
          <p:nvPr/>
        </p:nvSpPr>
        <p:spPr bwMode="auto">
          <a:xfrm rot="10800000">
            <a:off x="6268916" y="6332538"/>
            <a:ext cx="895350" cy="49212"/>
          </a:xfrm>
          <a:prstGeom prst="rect">
            <a:avLst/>
          </a:prstGeom>
          <a:solidFill>
            <a:srgbClr val="1C849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1" name="Rectangle 15"/>
          <p:cNvSpPr>
            <a:spLocks/>
          </p:cNvSpPr>
          <p:nvPr/>
        </p:nvSpPr>
        <p:spPr bwMode="auto">
          <a:xfrm rot="10800000">
            <a:off x="-5857" y="6332538"/>
            <a:ext cx="6274777" cy="49212"/>
          </a:xfrm>
          <a:prstGeom prst="rect">
            <a:avLst/>
          </a:prstGeom>
          <a:solidFill>
            <a:srgbClr val="29C6D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14"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
        <p:nvSpPr>
          <p:cNvPr id="20" name="AutoShape 2"/>
          <p:cNvSpPr>
            <a:spLocks/>
          </p:cNvSpPr>
          <p:nvPr userDrawn="1"/>
        </p:nvSpPr>
        <p:spPr bwMode="auto">
          <a:xfrm>
            <a:off x="5521840" y="44450"/>
            <a:ext cx="3578225" cy="711200"/>
          </a:xfrm>
          <a:custGeom>
            <a:avLst/>
            <a:gdLst>
              <a:gd name="T0" fmla="*/ 2849 w 21600"/>
              <a:gd name="T1" fmla="*/ 2083 h 21600"/>
              <a:gd name="T2" fmla="*/ 2593 w 21600"/>
              <a:gd name="T3" fmla="*/ 15539 h 21600"/>
              <a:gd name="T4" fmla="*/ 0 w 21600"/>
              <a:gd name="T5" fmla="*/ 18263 h 21600"/>
              <a:gd name="T6" fmla="*/ 1595 w 21600"/>
              <a:gd name="T7" fmla="*/ 0 h 21600"/>
              <a:gd name="T8" fmla="*/ 1126 w 21600"/>
              <a:gd name="T9" fmla="*/ 15219 h 21600"/>
              <a:gd name="T10" fmla="*/ 2351 w 21600"/>
              <a:gd name="T11" fmla="*/ 7210 h 21600"/>
              <a:gd name="T12" fmla="*/ 1575 w 21600"/>
              <a:gd name="T13" fmla="*/ 3045 h 21600"/>
              <a:gd name="T14" fmla="*/ 869 w 21600"/>
              <a:gd name="T15" fmla="*/ 15219 h 21600"/>
              <a:gd name="T16" fmla="*/ 5541 w 21600"/>
              <a:gd name="T17" fmla="*/ 10574 h 21600"/>
              <a:gd name="T18" fmla="*/ 4484 w 21600"/>
              <a:gd name="T19" fmla="*/ 7450 h 21600"/>
              <a:gd name="T20" fmla="*/ 6079 w 21600"/>
              <a:gd name="T21" fmla="*/ 3018 h 21600"/>
              <a:gd name="T22" fmla="*/ 3956 w 21600"/>
              <a:gd name="T23" fmla="*/ 1 h 21600"/>
              <a:gd name="T24" fmla="*/ 5669 w 21600"/>
              <a:gd name="T25" fmla="*/ 18263 h 21600"/>
              <a:gd name="T26" fmla="*/ 4232 w 21600"/>
              <a:gd name="T27" fmla="*/ 15246 h 21600"/>
              <a:gd name="T28" fmla="*/ 8514 w 21600"/>
              <a:gd name="T29" fmla="*/ 18262 h 21600"/>
              <a:gd name="T30" fmla="*/ 7111 w 21600"/>
              <a:gd name="T31" fmla="*/ 15245 h 21600"/>
              <a:gd name="T32" fmla="*/ 6840 w 21600"/>
              <a:gd name="T33" fmla="*/ 0 h 21600"/>
              <a:gd name="T34" fmla="*/ 8514 w 21600"/>
              <a:gd name="T35" fmla="*/ 18262 h 21600"/>
              <a:gd name="T36" fmla="*/ 9793 w 21600"/>
              <a:gd name="T37" fmla="*/ 18263 h 21600"/>
              <a:gd name="T38" fmla="*/ 9615 w 21600"/>
              <a:gd name="T39" fmla="*/ 0 h 21600"/>
              <a:gd name="T40" fmla="*/ 10830 w 21600"/>
              <a:gd name="T41" fmla="*/ 0 h 21600"/>
              <a:gd name="T42" fmla="*/ 12247 w 21600"/>
              <a:gd name="T43" fmla="*/ 18263 h 21600"/>
              <a:gd name="T44" fmla="*/ 13170 w 21600"/>
              <a:gd name="T45" fmla="*/ 0 h 21600"/>
              <a:gd name="T46" fmla="*/ 11625 w 21600"/>
              <a:gd name="T47" fmla="*/ 0 h 21600"/>
              <a:gd name="T48" fmla="*/ 14790 w 21600"/>
              <a:gd name="T49" fmla="*/ 10574 h 21600"/>
              <a:gd name="T50" fmla="*/ 16054 w 21600"/>
              <a:gd name="T51" fmla="*/ 7450 h 21600"/>
              <a:gd name="T52" fmla="*/ 15037 w 21600"/>
              <a:gd name="T53" fmla="*/ 3018 h 21600"/>
              <a:gd name="T54" fmla="*/ 16647 w 21600"/>
              <a:gd name="T55" fmla="*/ 1 h 21600"/>
              <a:gd name="T56" fmla="*/ 13773 w 21600"/>
              <a:gd name="T57" fmla="*/ 18263 h 21600"/>
              <a:gd name="T58" fmla="*/ 16173 w 21600"/>
              <a:gd name="T59" fmla="*/ 15246 h 21600"/>
              <a:gd name="T60" fmla="*/ 14790 w 21600"/>
              <a:gd name="T61" fmla="*/ 10574 h 21600"/>
              <a:gd name="T62" fmla="*/ 18790 w 21600"/>
              <a:gd name="T63" fmla="*/ 10947 h 21600"/>
              <a:gd name="T64" fmla="*/ 18489 w 21600"/>
              <a:gd name="T65" fmla="*/ 18262 h 21600"/>
              <a:gd name="T66" fmla="*/ 17640 w 21600"/>
              <a:gd name="T67" fmla="*/ 11641 h 21600"/>
              <a:gd name="T68" fmla="*/ 16657 w 21600"/>
              <a:gd name="T69" fmla="*/ 18262 h 21600"/>
              <a:gd name="T70" fmla="*/ 18400 w 21600"/>
              <a:gd name="T71" fmla="*/ 0 h 21600"/>
              <a:gd name="T72" fmla="*/ 19580 w 21600"/>
              <a:gd name="T73" fmla="*/ 5207 h 21600"/>
              <a:gd name="T74" fmla="*/ 17738 w 21600"/>
              <a:gd name="T75" fmla="*/ 8624 h 21600"/>
              <a:gd name="T76" fmla="*/ 18627 w 21600"/>
              <a:gd name="T77" fmla="*/ 7663 h 21600"/>
              <a:gd name="T78" fmla="*/ 18716 w 21600"/>
              <a:gd name="T79" fmla="*/ 3685 h 21600"/>
              <a:gd name="T80" fmla="*/ 17921 w 21600"/>
              <a:gd name="T81" fmla="*/ 3017 h 21600"/>
              <a:gd name="T82" fmla="*/ 21511 w 21600"/>
              <a:gd name="T83" fmla="*/ 21600 h 21600"/>
              <a:gd name="T84" fmla="*/ 19482 w 21600"/>
              <a:gd name="T85" fmla="*/ 19011 h 21600"/>
              <a:gd name="T86" fmla="*/ 21511 w 21600"/>
              <a:gd name="T87"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600" h="21600">
                <a:moveTo>
                  <a:pt x="1595" y="0"/>
                </a:moveTo>
                <a:cubicBezTo>
                  <a:pt x="2099" y="0"/>
                  <a:pt x="2568" y="481"/>
                  <a:pt x="2849" y="2083"/>
                </a:cubicBezTo>
                <a:cubicBezTo>
                  <a:pt x="3072" y="3338"/>
                  <a:pt x="3146" y="5074"/>
                  <a:pt x="3146" y="7129"/>
                </a:cubicBezTo>
                <a:cubicBezTo>
                  <a:pt x="3146" y="10386"/>
                  <a:pt x="2963" y="13484"/>
                  <a:pt x="2593" y="15539"/>
                </a:cubicBezTo>
                <a:cubicBezTo>
                  <a:pt x="2203" y="17702"/>
                  <a:pt x="1659" y="18263"/>
                  <a:pt x="1047" y="18263"/>
                </a:cubicBezTo>
                <a:lnTo>
                  <a:pt x="0" y="18263"/>
                </a:lnTo>
                <a:lnTo>
                  <a:pt x="593" y="0"/>
                </a:lnTo>
                <a:lnTo>
                  <a:pt x="1595" y="0"/>
                </a:lnTo>
                <a:close/>
                <a:moveTo>
                  <a:pt x="869" y="15219"/>
                </a:moveTo>
                <a:lnTo>
                  <a:pt x="1126" y="15219"/>
                </a:lnTo>
                <a:cubicBezTo>
                  <a:pt x="1546" y="15219"/>
                  <a:pt x="1822" y="14659"/>
                  <a:pt x="2039" y="12977"/>
                </a:cubicBezTo>
                <a:cubicBezTo>
                  <a:pt x="2217" y="11588"/>
                  <a:pt x="2351" y="9479"/>
                  <a:pt x="2351" y="7210"/>
                </a:cubicBezTo>
                <a:cubicBezTo>
                  <a:pt x="2351" y="5821"/>
                  <a:pt x="2301" y="4833"/>
                  <a:pt x="2188" y="4138"/>
                </a:cubicBezTo>
                <a:cubicBezTo>
                  <a:pt x="2069" y="3419"/>
                  <a:pt x="1881" y="3045"/>
                  <a:pt x="1575" y="3045"/>
                </a:cubicBezTo>
                <a:lnTo>
                  <a:pt x="1264" y="3045"/>
                </a:lnTo>
                <a:lnTo>
                  <a:pt x="869" y="15219"/>
                </a:lnTo>
                <a:close/>
                <a:moveTo>
                  <a:pt x="4380" y="10574"/>
                </a:moveTo>
                <a:lnTo>
                  <a:pt x="5541" y="10574"/>
                </a:lnTo>
                <a:lnTo>
                  <a:pt x="5644" y="7450"/>
                </a:lnTo>
                <a:lnTo>
                  <a:pt x="4484" y="7450"/>
                </a:lnTo>
                <a:lnTo>
                  <a:pt x="4627" y="3018"/>
                </a:lnTo>
                <a:lnTo>
                  <a:pt x="6079" y="3018"/>
                </a:lnTo>
                <a:lnTo>
                  <a:pt x="6237" y="1"/>
                </a:lnTo>
                <a:lnTo>
                  <a:pt x="3956" y="1"/>
                </a:lnTo>
                <a:lnTo>
                  <a:pt x="3363" y="18263"/>
                </a:lnTo>
                <a:lnTo>
                  <a:pt x="5669" y="18263"/>
                </a:lnTo>
                <a:lnTo>
                  <a:pt x="5763" y="15246"/>
                </a:lnTo>
                <a:lnTo>
                  <a:pt x="4232" y="15246"/>
                </a:lnTo>
                <a:lnTo>
                  <a:pt x="4380" y="10574"/>
                </a:lnTo>
                <a:close/>
                <a:moveTo>
                  <a:pt x="8514" y="18262"/>
                </a:moveTo>
                <a:lnTo>
                  <a:pt x="8607" y="15245"/>
                </a:lnTo>
                <a:lnTo>
                  <a:pt x="7111" y="15245"/>
                </a:lnTo>
                <a:lnTo>
                  <a:pt x="7610" y="0"/>
                </a:lnTo>
                <a:lnTo>
                  <a:pt x="6840" y="0"/>
                </a:lnTo>
                <a:lnTo>
                  <a:pt x="6247" y="18262"/>
                </a:lnTo>
                <a:lnTo>
                  <a:pt x="8514" y="18262"/>
                </a:lnTo>
                <a:close/>
                <a:moveTo>
                  <a:pt x="9022" y="18263"/>
                </a:moveTo>
                <a:lnTo>
                  <a:pt x="9793" y="18263"/>
                </a:lnTo>
                <a:lnTo>
                  <a:pt x="10385" y="0"/>
                </a:lnTo>
                <a:lnTo>
                  <a:pt x="9615" y="0"/>
                </a:lnTo>
                <a:lnTo>
                  <a:pt x="9022" y="18263"/>
                </a:lnTo>
                <a:close/>
                <a:moveTo>
                  <a:pt x="10830" y="0"/>
                </a:moveTo>
                <a:lnTo>
                  <a:pt x="11412" y="18263"/>
                </a:lnTo>
                <a:lnTo>
                  <a:pt x="12247" y="18263"/>
                </a:lnTo>
                <a:lnTo>
                  <a:pt x="13961" y="0"/>
                </a:lnTo>
                <a:lnTo>
                  <a:pt x="13170" y="0"/>
                </a:lnTo>
                <a:lnTo>
                  <a:pt x="11995" y="13457"/>
                </a:lnTo>
                <a:lnTo>
                  <a:pt x="11625" y="0"/>
                </a:lnTo>
                <a:lnTo>
                  <a:pt x="10830" y="0"/>
                </a:lnTo>
                <a:close/>
                <a:moveTo>
                  <a:pt x="14790" y="10574"/>
                </a:moveTo>
                <a:lnTo>
                  <a:pt x="15951" y="10574"/>
                </a:lnTo>
                <a:lnTo>
                  <a:pt x="16054" y="7450"/>
                </a:lnTo>
                <a:lnTo>
                  <a:pt x="14894" y="7450"/>
                </a:lnTo>
                <a:lnTo>
                  <a:pt x="15037" y="3018"/>
                </a:lnTo>
                <a:lnTo>
                  <a:pt x="16489" y="3018"/>
                </a:lnTo>
                <a:lnTo>
                  <a:pt x="16647" y="1"/>
                </a:lnTo>
                <a:lnTo>
                  <a:pt x="14365" y="1"/>
                </a:lnTo>
                <a:lnTo>
                  <a:pt x="13773" y="18263"/>
                </a:lnTo>
                <a:lnTo>
                  <a:pt x="16079" y="18263"/>
                </a:lnTo>
                <a:lnTo>
                  <a:pt x="16173" y="15246"/>
                </a:lnTo>
                <a:lnTo>
                  <a:pt x="14642" y="15246"/>
                </a:lnTo>
                <a:lnTo>
                  <a:pt x="14790" y="10574"/>
                </a:lnTo>
                <a:close/>
                <a:moveTo>
                  <a:pt x="19397" y="8597"/>
                </a:moveTo>
                <a:cubicBezTo>
                  <a:pt x="19269" y="9559"/>
                  <a:pt x="19062" y="10360"/>
                  <a:pt x="18790" y="10947"/>
                </a:cubicBezTo>
                <a:lnTo>
                  <a:pt x="19314" y="18262"/>
                </a:lnTo>
                <a:lnTo>
                  <a:pt x="18489" y="18262"/>
                </a:lnTo>
                <a:lnTo>
                  <a:pt x="18094" y="11641"/>
                </a:lnTo>
                <a:lnTo>
                  <a:pt x="17640" y="11641"/>
                </a:lnTo>
                <a:lnTo>
                  <a:pt x="17427" y="18262"/>
                </a:lnTo>
                <a:lnTo>
                  <a:pt x="16657" y="18262"/>
                </a:lnTo>
                <a:lnTo>
                  <a:pt x="17249" y="0"/>
                </a:lnTo>
                <a:lnTo>
                  <a:pt x="18400" y="0"/>
                </a:lnTo>
                <a:cubicBezTo>
                  <a:pt x="18820" y="0"/>
                  <a:pt x="19111" y="481"/>
                  <a:pt x="19294" y="1336"/>
                </a:cubicBezTo>
                <a:cubicBezTo>
                  <a:pt x="19496" y="2269"/>
                  <a:pt x="19580" y="3631"/>
                  <a:pt x="19580" y="5207"/>
                </a:cubicBezTo>
                <a:cubicBezTo>
                  <a:pt x="19580" y="6514"/>
                  <a:pt x="19521" y="7663"/>
                  <a:pt x="19397" y="8597"/>
                </a:cubicBezTo>
                <a:moveTo>
                  <a:pt x="17738" y="8624"/>
                </a:moveTo>
                <a:lnTo>
                  <a:pt x="18035" y="8624"/>
                </a:lnTo>
                <a:cubicBezTo>
                  <a:pt x="18272" y="8624"/>
                  <a:pt x="18484" y="8383"/>
                  <a:pt x="18627" y="7663"/>
                </a:cubicBezTo>
                <a:cubicBezTo>
                  <a:pt x="18741" y="7103"/>
                  <a:pt x="18815" y="6195"/>
                  <a:pt x="18815" y="5233"/>
                </a:cubicBezTo>
                <a:cubicBezTo>
                  <a:pt x="18815" y="4619"/>
                  <a:pt x="18785" y="4059"/>
                  <a:pt x="18716" y="3685"/>
                </a:cubicBezTo>
                <a:cubicBezTo>
                  <a:pt x="18637" y="3258"/>
                  <a:pt x="18514" y="3017"/>
                  <a:pt x="18306" y="3017"/>
                </a:cubicBezTo>
                <a:lnTo>
                  <a:pt x="17921" y="3017"/>
                </a:lnTo>
                <a:lnTo>
                  <a:pt x="17738" y="8624"/>
                </a:lnTo>
                <a:close/>
                <a:moveTo>
                  <a:pt x="21511" y="21600"/>
                </a:moveTo>
                <a:lnTo>
                  <a:pt x="21600" y="19011"/>
                </a:lnTo>
                <a:lnTo>
                  <a:pt x="19482" y="19011"/>
                </a:lnTo>
                <a:lnTo>
                  <a:pt x="19393" y="21600"/>
                </a:lnTo>
                <a:lnTo>
                  <a:pt x="21511" y="21600"/>
                </a:lnTo>
                <a:close/>
                <a:moveTo>
                  <a:pt x="21511" y="21600"/>
                </a:moveTo>
              </a:path>
            </a:pathLst>
          </a:custGeom>
          <a:solidFill>
            <a:schemeClr val="accent1">
              <a:alpha val="25000"/>
            </a:schemeClr>
          </a:solidFill>
          <a:ln>
            <a:noFill/>
          </a:ln>
        </p:spPr>
        <p:txBody>
          <a:bodyPr lIns="0" tIns="0" rIns="0" bIns="0"/>
          <a:lstStyle/>
          <a:p>
            <a:endParaRPr lang="es-ES">
              <a:solidFill>
                <a:srgbClr val="003245"/>
              </a:solidFill>
            </a:endParaRPr>
          </a:p>
        </p:txBody>
      </p:sp>
      <p:sp>
        <p:nvSpPr>
          <p:cNvPr id="21" name="AutoShape 2"/>
          <p:cNvSpPr>
            <a:spLocks noChangeAspect="1"/>
          </p:cNvSpPr>
          <p:nvPr userDrawn="1"/>
        </p:nvSpPr>
        <p:spPr bwMode="auto">
          <a:xfrm>
            <a:off x="6502358" y="476250"/>
            <a:ext cx="2383701" cy="423427"/>
          </a:xfrm>
          <a:custGeom>
            <a:avLst/>
            <a:gdLst>
              <a:gd name="T0" fmla="*/ 2849 w 21600"/>
              <a:gd name="T1" fmla="*/ 2083 h 21600"/>
              <a:gd name="T2" fmla="*/ 2593 w 21600"/>
              <a:gd name="T3" fmla="*/ 15539 h 21600"/>
              <a:gd name="T4" fmla="*/ 0 w 21600"/>
              <a:gd name="T5" fmla="*/ 18263 h 21600"/>
              <a:gd name="T6" fmla="*/ 1595 w 21600"/>
              <a:gd name="T7" fmla="*/ 0 h 21600"/>
              <a:gd name="T8" fmla="*/ 1126 w 21600"/>
              <a:gd name="T9" fmla="*/ 15219 h 21600"/>
              <a:gd name="T10" fmla="*/ 2351 w 21600"/>
              <a:gd name="T11" fmla="*/ 7210 h 21600"/>
              <a:gd name="T12" fmla="*/ 1575 w 21600"/>
              <a:gd name="T13" fmla="*/ 3045 h 21600"/>
              <a:gd name="T14" fmla="*/ 869 w 21600"/>
              <a:gd name="T15" fmla="*/ 15219 h 21600"/>
              <a:gd name="T16" fmla="*/ 5541 w 21600"/>
              <a:gd name="T17" fmla="*/ 10574 h 21600"/>
              <a:gd name="T18" fmla="*/ 4484 w 21600"/>
              <a:gd name="T19" fmla="*/ 7450 h 21600"/>
              <a:gd name="T20" fmla="*/ 6079 w 21600"/>
              <a:gd name="T21" fmla="*/ 3018 h 21600"/>
              <a:gd name="T22" fmla="*/ 3956 w 21600"/>
              <a:gd name="T23" fmla="*/ 1 h 21600"/>
              <a:gd name="T24" fmla="*/ 5669 w 21600"/>
              <a:gd name="T25" fmla="*/ 18263 h 21600"/>
              <a:gd name="T26" fmla="*/ 4232 w 21600"/>
              <a:gd name="T27" fmla="*/ 15246 h 21600"/>
              <a:gd name="T28" fmla="*/ 8514 w 21600"/>
              <a:gd name="T29" fmla="*/ 18262 h 21600"/>
              <a:gd name="T30" fmla="*/ 7111 w 21600"/>
              <a:gd name="T31" fmla="*/ 15245 h 21600"/>
              <a:gd name="T32" fmla="*/ 6840 w 21600"/>
              <a:gd name="T33" fmla="*/ 0 h 21600"/>
              <a:gd name="T34" fmla="*/ 8514 w 21600"/>
              <a:gd name="T35" fmla="*/ 18262 h 21600"/>
              <a:gd name="T36" fmla="*/ 9793 w 21600"/>
              <a:gd name="T37" fmla="*/ 18263 h 21600"/>
              <a:gd name="T38" fmla="*/ 9615 w 21600"/>
              <a:gd name="T39" fmla="*/ 0 h 21600"/>
              <a:gd name="T40" fmla="*/ 10830 w 21600"/>
              <a:gd name="T41" fmla="*/ 0 h 21600"/>
              <a:gd name="T42" fmla="*/ 12247 w 21600"/>
              <a:gd name="T43" fmla="*/ 18263 h 21600"/>
              <a:gd name="T44" fmla="*/ 13170 w 21600"/>
              <a:gd name="T45" fmla="*/ 0 h 21600"/>
              <a:gd name="T46" fmla="*/ 11625 w 21600"/>
              <a:gd name="T47" fmla="*/ 0 h 21600"/>
              <a:gd name="T48" fmla="*/ 14790 w 21600"/>
              <a:gd name="T49" fmla="*/ 10574 h 21600"/>
              <a:gd name="T50" fmla="*/ 16054 w 21600"/>
              <a:gd name="T51" fmla="*/ 7450 h 21600"/>
              <a:gd name="T52" fmla="*/ 15037 w 21600"/>
              <a:gd name="T53" fmla="*/ 3018 h 21600"/>
              <a:gd name="T54" fmla="*/ 16647 w 21600"/>
              <a:gd name="T55" fmla="*/ 1 h 21600"/>
              <a:gd name="T56" fmla="*/ 13773 w 21600"/>
              <a:gd name="T57" fmla="*/ 18263 h 21600"/>
              <a:gd name="T58" fmla="*/ 16173 w 21600"/>
              <a:gd name="T59" fmla="*/ 15246 h 21600"/>
              <a:gd name="T60" fmla="*/ 14790 w 21600"/>
              <a:gd name="T61" fmla="*/ 10574 h 21600"/>
              <a:gd name="T62" fmla="*/ 18790 w 21600"/>
              <a:gd name="T63" fmla="*/ 10947 h 21600"/>
              <a:gd name="T64" fmla="*/ 18489 w 21600"/>
              <a:gd name="T65" fmla="*/ 18262 h 21600"/>
              <a:gd name="T66" fmla="*/ 17640 w 21600"/>
              <a:gd name="T67" fmla="*/ 11641 h 21600"/>
              <a:gd name="T68" fmla="*/ 16657 w 21600"/>
              <a:gd name="T69" fmla="*/ 18262 h 21600"/>
              <a:gd name="T70" fmla="*/ 18400 w 21600"/>
              <a:gd name="T71" fmla="*/ 0 h 21600"/>
              <a:gd name="T72" fmla="*/ 19580 w 21600"/>
              <a:gd name="T73" fmla="*/ 5207 h 21600"/>
              <a:gd name="T74" fmla="*/ 17738 w 21600"/>
              <a:gd name="T75" fmla="*/ 8624 h 21600"/>
              <a:gd name="T76" fmla="*/ 18627 w 21600"/>
              <a:gd name="T77" fmla="*/ 7663 h 21600"/>
              <a:gd name="T78" fmla="*/ 18716 w 21600"/>
              <a:gd name="T79" fmla="*/ 3685 h 21600"/>
              <a:gd name="T80" fmla="*/ 17921 w 21600"/>
              <a:gd name="T81" fmla="*/ 3017 h 21600"/>
              <a:gd name="T82" fmla="*/ 21511 w 21600"/>
              <a:gd name="T83" fmla="*/ 21600 h 21600"/>
              <a:gd name="T84" fmla="*/ 19482 w 21600"/>
              <a:gd name="T85" fmla="*/ 19011 h 21600"/>
              <a:gd name="T86" fmla="*/ 21511 w 21600"/>
              <a:gd name="T87"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600" h="21600">
                <a:moveTo>
                  <a:pt x="1595" y="0"/>
                </a:moveTo>
                <a:cubicBezTo>
                  <a:pt x="2099" y="0"/>
                  <a:pt x="2568" y="481"/>
                  <a:pt x="2849" y="2083"/>
                </a:cubicBezTo>
                <a:cubicBezTo>
                  <a:pt x="3072" y="3338"/>
                  <a:pt x="3146" y="5074"/>
                  <a:pt x="3146" y="7129"/>
                </a:cubicBezTo>
                <a:cubicBezTo>
                  <a:pt x="3146" y="10386"/>
                  <a:pt x="2963" y="13484"/>
                  <a:pt x="2593" y="15539"/>
                </a:cubicBezTo>
                <a:cubicBezTo>
                  <a:pt x="2203" y="17702"/>
                  <a:pt x="1659" y="18263"/>
                  <a:pt x="1047" y="18263"/>
                </a:cubicBezTo>
                <a:lnTo>
                  <a:pt x="0" y="18263"/>
                </a:lnTo>
                <a:lnTo>
                  <a:pt x="593" y="0"/>
                </a:lnTo>
                <a:lnTo>
                  <a:pt x="1595" y="0"/>
                </a:lnTo>
                <a:close/>
                <a:moveTo>
                  <a:pt x="869" y="15219"/>
                </a:moveTo>
                <a:lnTo>
                  <a:pt x="1126" y="15219"/>
                </a:lnTo>
                <a:cubicBezTo>
                  <a:pt x="1546" y="15219"/>
                  <a:pt x="1822" y="14659"/>
                  <a:pt x="2039" y="12977"/>
                </a:cubicBezTo>
                <a:cubicBezTo>
                  <a:pt x="2217" y="11588"/>
                  <a:pt x="2351" y="9479"/>
                  <a:pt x="2351" y="7210"/>
                </a:cubicBezTo>
                <a:cubicBezTo>
                  <a:pt x="2351" y="5821"/>
                  <a:pt x="2301" y="4833"/>
                  <a:pt x="2188" y="4138"/>
                </a:cubicBezTo>
                <a:cubicBezTo>
                  <a:pt x="2069" y="3419"/>
                  <a:pt x="1881" y="3045"/>
                  <a:pt x="1575" y="3045"/>
                </a:cubicBezTo>
                <a:lnTo>
                  <a:pt x="1264" y="3045"/>
                </a:lnTo>
                <a:lnTo>
                  <a:pt x="869" y="15219"/>
                </a:lnTo>
                <a:close/>
                <a:moveTo>
                  <a:pt x="4380" y="10574"/>
                </a:moveTo>
                <a:lnTo>
                  <a:pt x="5541" y="10574"/>
                </a:lnTo>
                <a:lnTo>
                  <a:pt x="5644" y="7450"/>
                </a:lnTo>
                <a:lnTo>
                  <a:pt x="4484" y="7450"/>
                </a:lnTo>
                <a:lnTo>
                  <a:pt x="4627" y="3018"/>
                </a:lnTo>
                <a:lnTo>
                  <a:pt x="6079" y="3018"/>
                </a:lnTo>
                <a:lnTo>
                  <a:pt x="6237" y="1"/>
                </a:lnTo>
                <a:lnTo>
                  <a:pt x="3956" y="1"/>
                </a:lnTo>
                <a:lnTo>
                  <a:pt x="3363" y="18263"/>
                </a:lnTo>
                <a:lnTo>
                  <a:pt x="5669" y="18263"/>
                </a:lnTo>
                <a:lnTo>
                  <a:pt x="5763" y="15246"/>
                </a:lnTo>
                <a:lnTo>
                  <a:pt x="4232" y="15246"/>
                </a:lnTo>
                <a:lnTo>
                  <a:pt x="4380" y="10574"/>
                </a:lnTo>
                <a:close/>
                <a:moveTo>
                  <a:pt x="8514" y="18262"/>
                </a:moveTo>
                <a:lnTo>
                  <a:pt x="8607" y="15245"/>
                </a:lnTo>
                <a:lnTo>
                  <a:pt x="7111" y="15245"/>
                </a:lnTo>
                <a:lnTo>
                  <a:pt x="7610" y="0"/>
                </a:lnTo>
                <a:lnTo>
                  <a:pt x="6840" y="0"/>
                </a:lnTo>
                <a:lnTo>
                  <a:pt x="6247" y="18262"/>
                </a:lnTo>
                <a:lnTo>
                  <a:pt x="8514" y="18262"/>
                </a:lnTo>
                <a:close/>
                <a:moveTo>
                  <a:pt x="9022" y="18263"/>
                </a:moveTo>
                <a:lnTo>
                  <a:pt x="9793" y="18263"/>
                </a:lnTo>
                <a:lnTo>
                  <a:pt x="10385" y="0"/>
                </a:lnTo>
                <a:lnTo>
                  <a:pt x="9615" y="0"/>
                </a:lnTo>
                <a:lnTo>
                  <a:pt x="9022" y="18263"/>
                </a:lnTo>
                <a:close/>
                <a:moveTo>
                  <a:pt x="10830" y="0"/>
                </a:moveTo>
                <a:lnTo>
                  <a:pt x="11412" y="18263"/>
                </a:lnTo>
                <a:lnTo>
                  <a:pt x="12247" y="18263"/>
                </a:lnTo>
                <a:lnTo>
                  <a:pt x="13961" y="0"/>
                </a:lnTo>
                <a:lnTo>
                  <a:pt x="13170" y="0"/>
                </a:lnTo>
                <a:lnTo>
                  <a:pt x="11995" y="13457"/>
                </a:lnTo>
                <a:lnTo>
                  <a:pt x="11625" y="0"/>
                </a:lnTo>
                <a:lnTo>
                  <a:pt x="10830" y="0"/>
                </a:lnTo>
                <a:close/>
                <a:moveTo>
                  <a:pt x="14790" y="10574"/>
                </a:moveTo>
                <a:lnTo>
                  <a:pt x="15951" y="10574"/>
                </a:lnTo>
                <a:lnTo>
                  <a:pt x="16054" y="7450"/>
                </a:lnTo>
                <a:lnTo>
                  <a:pt x="14894" y="7450"/>
                </a:lnTo>
                <a:lnTo>
                  <a:pt x="15037" y="3018"/>
                </a:lnTo>
                <a:lnTo>
                  <a:pt x="16489" y="3018"/>
                </a:lnTo>
                <a:lnTo>
                  <a:pt x="16647" y="1"/>
                </a:lnTo>
                <a:lnTo>
                  <a:pt x="14365" y="1"/>
                </a:lnTo>
                <a:lnTo>
                  <a:pt x="13773" y="18263"/>
                </a:lnTo>
                <a:lnTo>
                  <a:pt x="16079" y="18263"/>
                </a:lnTo>
                <a:lnTo>
                  <a:pt x="16173" y="15246"/>
                </a:lnTo>
                <a:lnTo>
                  <a:pt x="14642" y="15246"/>
                </a:lnTo>
                <a:lnTo>
                  <a:pt x="14790" y="10574"/>
                </a:lnTo>
                <a:close/>
                <a:moveTo>
                  <a:pt x="19397" y="8597"/>
                </a:moveTo>
                <a:cubicBezTo>
                  <a:pt x="19269" y="9559"/>
                  <a:pt x="19062" y="10360"/>
                  <a:pt x="18790" y="10947"/>
                </a:cubicBezTo>
                <a:lnTo>
                  <a:pt x="19314" y="18262"/>
                </a:lnTo>
                <a:lnTo>
                  <a:pt x="18489" y="18262"/>
                </a:lnTo>
                <a:lnTo>
                  <a:pt x="18094" y="11641"/>
                </a:lnTo>
                <a:lnTo>
                  <a:pt x="17640" y="11641"/>
                </a:lnTo>
                <a:lnTo>
                  <a:pt x="17427" y="18262"/>
                </a:lnTo>
                <a:lnTo>
                  <a:pt x="16657" y="18262"/>
                </a:lnTo>
                <a:lnTo>
                  <a:pt x="17249" y="0"/>
                </a:lnTo>
                <a:lnTo>
                  <a:pt x="18400" y="0"/>
                </a:lnTo>
                <a:cubicBezTo>
                  <a:pt x="18820" y="0"/>
                  <a:pt x="19111" y="481"/>
                  <a:pt x="19294" y="1336"/>
                </a:cubicBezTo>
                <a:cubicBezTo>
                  <a:pt x="19496" y="2269"/>
                  <a:pt x="19580" y="3631"/>
                  <a:pt x="19580" y="5207"/>
                </a:cubicBezTo>
                <a:cubicBezTo>
                  <a:pt x="19580" y="6514"/>
                  <a:pt x="19521" y="7663"/>
                  <a:pt x="19397" y="8597"/>
                </a:cubicBezTo>
                <a:moveTo>
                  <a:pt x="17738" y="8624"/>
                </a:moveTo>
                <a:lnTo>
                  <a:pt x="18035" y="8624"/>
                </a:lnTo>
                <a:cubicBezTo>
                  <a:pt x="18272" y="8624"/>
                  <a:pt x="18484" y="8383"/>
                  <a:pt x="18627" y="7663"/>
                </a:cubicBezTo>
                <a:cubicBezTo>
                  <a:pt x="18741" y="7103"/>
                  <a:pt x="18815" y="6195"/>
                  <a:pt x="18815" y="5233"/>
                </a:cubicBezTo>
                <a:cubicBezTo>
                  <a:pt x="18815" y="4619"/>
                  <a:pt x="18785" y="4059"/>
                  <a:pt x="18716" y="3685"/>
                </a:cubicBezTo>
                <a:cubicBezTo>
                  <a:pt x="18637" y="3258"/>
                  <a:pt x="18514" y="3017"/>
                  <a:pt x="18306" y="3017"/>
                </a:cubicBezTo>
                <a:lnTo>
                  <a:pt x="17921" y="3017"/>
                </a:lnTo>
                <a:lnTo>
                  <a:pt x="17738" y="8624"/>
                </a:lnTo>
                <a:close/>
                <a:moveTo>
                  <a:pt x="21511" y="21600"/>
                </a:moveTo>
                <a:lnTo>
                  <a:pt x="21600" y="19011"/>
                </a:lnTo>
                <a:lnTo>
                  <a:pt x="19482" y="19011"/>
                </a:lnTo>
                <a:lnTo>
                  <a:pt x="19393" y="21600"/>
                </a:lnTo>
                <a:lnTo>
                  <a:pt x="21511" y="21600"/>
                </a:lnTo>
                <a:close/>
                <a:moveTo>
                  <a:pt x="21511" y="21600"/>
                </a:moveTo>
              </a:path>
            </a:pathLst>
          </a:custGeom>
          <a:solidFill>
            <a:schemeClr val="accent1">
              <a:alpha val="60000"/>
            </a:schemeClr>
          </a:solidFill>
          <a:ln>
            <a:noFill/>
          </a:ln>
        </p:spPr>
        <p:txBody>
          <a:bodyPr lIns="0" tIns="0" rIns="0" bIns="0"/>
          <a:lstStyle/>
          <a:p>
            <a:endParaRPr lang="es-ES">
              <a:solidFill>
                <a:srgbClr val="003245"/>
              </a:solidFill>
            </a:endParaRPr>
          </a:p>
        </p:txBody>
      </p:sp>
      <p:grpSp>
        <p:nvGrpSpPr>
          <p:cNvPr id="15" name="Grupo 14"/>
          <p:cNvGrpSpPr/>
          <p:nvPr userDrawn="1"/>
        </p:nvGrpSpPr>
        <p:grpSpPr>
          <a:xfrm>
            <a:off x="58864" y="6464175"/>
            <a:ext cx="2103461" cy="359735"/>
            <a:chOff x="58864" y="6464175"/>
            <a:chExt cx="2103461" cy="359735"/>
          </a:xfrm>
        </p:grpSpPr>
        <p:grpSp>
          <p:nvGrpSpPr>
            <p:cNvPr id="22" name="Group 4"/>
            <p:cNvGrpSpPr>
              <a:grpSpLocks/>
            </p:cNvGrpSpPr>
            <p:nvPr userDrawn="1"/>
          </p:nvGrpSpPr>
          <p:grpSpPr bwMode="auto">
            <a:xfrm>
              <a:off x="179512" y="6464175"/>
              <a:ext cx="888250" cy="136799"/>
              <a:chOff x="-14" y="12"/>
              <a:chExt cx="605" cy="99"/>
            </a:xfrm>
          </p:grpSpPr>
          <p:sp>
            <p:nvSpPr>
              <p:cNvPr id="24" name="AutoShape 2"/>
              <p:cNvSpPr>
                <a:spLocks/>
              </p:cNvSpPr>
              <p:nvPr/>
            </p:nvSpPr>
            <p:spPr bwMode="auto">
              <a:xfrm>
                <a:off x="-14" y="12"/>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sp>
            <p:nvSpPr>
              <p:cNvPr id="25"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21600"/>
                    </a:moveTo>
                    <a:lnTo>
                      <a:pt x="870" y="0"/>
                    </a:lnTo>
                    <a:lnTo>
                      <a:pt x="21600" y="0"/>
                    </a:lnTo>
                    <a:lnTo>
                      <a:pt x="20730" y="21600"/>
                    </a:lnTo>
                    <a:lnTo>
                      <a:pt x="0" y="21600"/>
                    </a:lnTo>
                    <a:close/>
                    <a:moveTo>
                      <a:pt x="0" y="21600"/>
                    </a:moveTo>
                  </a:path>
                </a:pathLst>
              </a:custGeom>
              <a:solidFill>
                <a:srgbClr val="7DFE9D"/>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p>
            </p:txBody>
          </p:sp>
        </p:grpSp>
        <p:sp>
          <p:nvSpPr>
            <p:cNvPr id="23" name="22 CuadroTexto"/>
            <p:cNvSpPr txBox="1"/>
            <p:nvPr userDrawn="1"/>
          </p:nvSpPr>
          <p:spPr>
            <a:xfrm>
              <a:off x="58864" y="6577689"/>
              <a:ext cx="2103461" cy="246221"/>
            </a:xfrm>
            <a:prstGeom prst="rect">
              <a:avLst/>
            </a:prstGeom>
            <a:noFill/>
          </p:spPr>
          <p:txBody>
            <a:bodyPr wrap="none" rtlCol="0">
              <a:spAutoFit/>
            </a:bodyPr>
            <a:lstStyle/>
            <a:p>
              <a:r>
                <a:rPr lang="en-US" sz="1000" b="0" i="1" noProof="0" dirty="0" smtClean="0">
                  <a:solidFill>
                    <a:schemeClr val="accent5">
                      <a:lumMod val="75000"/>
                    </a:schemeClr>
                  </a:solidFill>
                  <a:latin typeface="Arial" panose="020B0604020202020204" pitchFamily="34" charset="0"/>
                  <a:cs typeface="Arial" panose="020B0604020202020204" pitchFamily="34" charset="0"/>
                </a:rPr>
                <a:t>DISCOVER</a:t>
              </a:r>
              <a:r>
                <a:rPr lang="en-US" sz="1000" b="0" i="1" dirty="0" smtClean="0">
                  <a:solidFill>
                    <a:schemeClr val="accent5">
                      <a:lumMod val="75000"/>
                    </a:schemeClr>
                  </a:solidFill>
                  <a:latin typeface="Arial" panose="020B0604020202020204" pitchFamily="34" charset="0"/>
                  <a:cs typeface="Arial" panose="020B0604020202020204" pitchFamily="34" charset="0"/>
                </a:rPr>
                <a:t>, DISRUPT, DELIVER</a:t>
              </a:r>
              <a:endParaRPr lang="en-US" sz="1000" b="0" i="1" dirty="0">
                <a:solidFill>
                  <a:schemeClr val="accent5">
                    <a:lumMod val="7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283398082"/>
      </p:ext>
    </p:extLst>
  </p:cSld>
  <p:clrMap bg1="lt1" tx1="dk1" bg2="lt2" tx2="dk2" accent1="accent1" accent2="accent2" accent3="accent3" accent4="accent4" accent5="accent5" accent6="accent6" hlink="hlink" folHlink="folHlink"/>
  <p:sldLayoutIdLst>
    <p:sldLayoutId id="2147483785" r:id="rId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800">
          <a:solidFill>
            <a:srgbClr val="17B4C6"/>
          </a:solidFill>
          <a:latin typeface="+mj-lt"/>
          <a:ea typeface="+mj-ea"/>
          <a:cs typeface="+mj-cs"/>
          <a:sym typeface="Gill Sans" pitchFamily="122"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1pPr>
      <a:lvl2pPr marL="1333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2pPr>
      <a:lvl3pPr marL="1778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3pPr>
      <a:lvl4pPr marL="2222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4pPr>
      <a:lvl5pPr marL="2667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5pPr>
      <a:lvl6pPr marL="31242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6pPr>
      <a:lvl7pPr marL="35814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7pPr>
      <a:lvl8pPr marL="40386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8pPr>
      <a:lvl9pPr marL="44958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099" name="Group 4"/>
          <p:cNvGrpSpPr>
            <a:grpSpLocks/>
          </p:cNvGrpSpPr>
          <p:nvPr userDrawn="1"/>
        </p:nvGrpSpPr>
        <p:grpSpPr bwMode="auto">
          <a:xfrm>
            <a:off x="7630258" y="6437314"/>
            <a:ext cx="1129811" cy="231775"/>
            <a:chOff x="0" y="0"/>
            <a:chExt cx="591" cy="111"/>
          </a:xfrm>
        </p:grpSpPr>
        <p:sp>
          <p:nvSpPr>
            <p:cNvPr id="2056" name="AutoShape 2"/>
            <p:cNvSpPr>
              <a:spLocks/>
            </p:cNvSpPr>
            <p:nvPr/>
          </p:nvSpPr>
          <p:spPr bwMode="auto">
            <a:xfrm>
              <a:off x="0" y="0"/>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w="25400">
              <a:noFill/>
              <a:miter lim="800000"/>
              <a:headEnd/>
              <a:tailEnd/>
            </a:ln>
          </p:spPr>
          <p:txBody>
            <a:bodyPr lIns="0" tIns="0" rIns="0" bIns="0"/>
            <a:lstStyle/>
            <a:p>
              <a:endParaRPr lang="es-ES_tradnl"/>
            </a:p>
          </p:txBody>
        </p:sp>
        <p:sp>
          <p:nvSpPr>
            <p:cNvPr id="2057"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870" y="0"/>
                  </a:lnTo>
                  <a:lnTo>
                    <a:pt x="21600" y="0"/>
                  </a:lnTo>
                  <a:lnTo>
                    <a:pt x="20730" y="21600"/>
                  </a:lnTo>
                  <a:lnTo>
                    <a:pt x="0" y="21600"/>
                  </a:lnTo>
                  <a:close/>
                  <a:moveTo>
                    <a:pt x="0" y="21600"/>
                  </a:moveTo>
                </a:path>
              </a:pathLst>
            </a:custGeom>
            <a:solidFill>
              <a:srgbClr val="7DFE9D"/>
            </a:solidFill>
            <a:ln w="25400">
              <a:noFill/>
              <a:miter lim="800000"/>
              <a:headEnd/>
              <a:tailEnd/>
            </a:ln>
          </p:spPr>
          <p:txBody>
            <a:bodyPr lIns="0" tIns="0" rIns="0" bIns="0"/>
            <a:lstStyle/>
            <a:p>
              <a:endParaRPr lang="es-ES_tradnl"/>
            </a:p>
          </p:txBody>
        </p:sp>
      </p:grpSp>
    </p:spTree>
    <p:extLst>
      <p:ext uri="{BB962C8B-B14F-4D97-AF65-F5344CB8AC3E}">
        <p14:creationId xmlns:p14="http://schemas.microsoft.com/office/powerpoint/2010/main" val="298264566"/>
      </p:ext>
    </p:extLst>
  </p:cSld>
  <p:clrMap bg1="lt1" tx1="dk1" bg2="lt2" tx2="dk2" accent1="accent1" accent2="accent2" accent3="accent3" accent4="accent4" accent5="accent5" accent6="accent6" hlink="hlink" folHlink="folHlink"/>
  <p:sldLayoutIdLst>
    <p:sldLayoutId id="2147483788" r:id="rId1"/>
  </p:sldLayoutIdLst>
  <p:transition/>
  <p:timing>
    <p:tnLst>
      <p:par>
        <p:cTn id="1" dur="indefinite" restart="never" nodeType="tmRoot"/>
      </p:par>
    </p:tnLst>
  </p:timing>
  <p:txStyles>
    <p:titleStyle>
      <a:lvl1pPr algn="ctr" rtl="0" eaLnBrk="0" fontAlgn="base" hangingPunct="0">
        <a:spcBef>
          <a:spcPct val="0"/>
        </a:spcBef>
        <a:spcAft>
          <a:spcPct val="0"/>
        </a:spcAft>
        <a:defRPr sz="5800">
          <a:solidFill>
            <a:schemeClr val="tx1"/>
          </a:solidFill>
          <a:latin typeface="+mj-lt"/>
          <a:ea typeface="+mj-ea"/>
          <a:cs typeface="+mj-cs"/>
          <a:sym typeface="Gill Sans" pitchFamily="-84"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84"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defRPr sz="2400">
          <a:solidFill>
            <a:schemeClr val="tx1"/>
          </a:solidFill>
          <a:latin typeface="+mn-lt"/>
          <a:ea typeface="+mn-ea"/>
          <a:cs typeface="+mn-cs"/>
          <a:sym typeface="Gill Sans" pitchFamily="-84" charset="0"/>
        </a:defRPr>
      </a:lvl1pPr>
      <a:lvl2pPr marL="742950" indent="-285750" algn="ctr" rtl="0" eaLnBrk="0" fontAlgn="base" hangingPunct="0">
        <a:spcBef>
          <a:spcPct val="0"/>
        </a:spcBef>
        <a:spcAft>
          <a:spcPct val="0"/>
        </a:spcAft>
        <a:defRPr sz="2400">
          <a:solidFill>
            <a:schemeClr val="tx1"/>
          </a:solidFill>
          <a:latin typeface="+mn-lt"/>
          <a:ea typeface="+mn-ea"/>
          <a:cs typeface="+mn-cs"/>
          <a:sym typeface="Gill Sans" pitchFamily="-84" charset="0"/>
        </a:defRPr>
      </a:lvl2pPr>
      <a:lvl3pPr marL="1143000" indent="-228600" algn="ctr" rtl="0" eaLnBrk="0" fontAlgn="base" hangingPunct="0">
        <a:spcBef>
          <a:spcPct val="0"/>
        </a:spcBef>
        <a:spcAft>
          <a:spcPct val="0"/>
        </a:spcAft>
        <a:defRPr sz="2400">
          <a:solidFill>
            <a:schemeClr val="tx1"/>
          </a:solidFill>
          <a:latin typeface="+mn-lt"/>
          <a:ea typeface="+mn-ea"/>
          <a:cs typeface="+mn-cs"/>
          <a:sym typeface="Gill Sans" pitchFamily="-84" charset="0"/>
        </a:defRPr>
      </a:lvl3pPr>
      <a:lvl4pPr marL="1600200" indent="-228600" algn="ctr" rtl="0" eaLnBrk="0" fontAlgn="base" hangingPunct="0">
        <a:spcBef>
          <a:spcPct val="0"/>
        </a:spcBef>
        <a:spcAft>
          <a:spcPct val="0"/>
        </a:spcAft>
        <a:defRPr sz="2400">
          <a:solidFill>
            <a:schemeClr val="tx1"/>
          </a:solidFill>
          <a:latin typeface="+mn-lt"/>
          <a:ea typeface="+mn-ea"/>
          <a:cs typeface="+mn-cs"/>
          <a:sym typeface="Gill Sans" pitchFamily="-84" charset="0"/>
        </a:defRPr>
      </a:lvl4pPr>
      <a:lvl5pPr marL="2057400" indent="-228600" algn="ctr" rtl="0" eaLnBrk="0" fontAlgn="base" hangingPunct="0">
        <a:spcBef>
          <a:spcPct val="0"/>
        </a:spcBef>
        <a:spcAft>
          <a:spcPct val="0"/>
        </a:spcAft>
        <a:defRPr sz="2400">
          <a:solidFill>
            <a:schemeClr val="tx1"/>
          </a:solidFill>
          <a:latin typeface="+mn-lt"/>
          <a:ea typeface="+mn-ea"/>
          <a:cs typeface="+mn-cs"/>
          <a:sym typeface="Gill Sans" pitchFamily="-84" charset="0"/>
        </a:defRPr>
      </a:lvl5pPr>
      <a:lvl6pPr marL="457200" algn="ctr" rtl="0" fontAlgn="base">
        <a:spcBef>
          <a:spcPct val="0"/>
        </a:spcBef>
        <a:spcAft>
          <a:spcPct val="0"/>
        </a:spcAft>
        <a:defRPr sz="2400">
          <a:solidFill>
            <a:schemeClr val="tx1"/>
          </a:solidFill>
          <a:latin typeface="+mn-lt"/>
          <a:ea typeface="+mn-ea"/>
          <a:cs typeface="+mn-cs"/>
          <a:sym typeface="Gill Sans" charset="0"/>
        </a:defRPr>
      </a:lvl6pPr>
      <a:lvl7pPr marL="914400" algn="ctr" rtl="0" fontAlgn="base">
        <a:spcBef>
          <a:spcPct val="0"/>
        </a:spcBef>
        <a:spcAft>
          <a:spcPct val="0"/>
        </a:spcAft>
        <a:defRPr sz="2400">
          <a:solidFill>
            <a:schemeClr val="tx1"/>
          </a:solidFill>
          <a:latin typeface="+mn-lt"/>
          <a:ea typeface="+mn-ea"/>
          <a:cs typeface="+mn-cs"/>
          <a:sym typeface="Gill Sans" charset="0"/>
        </a:defRPr>
      </a:lvl7pPr>
      <a:lvl8pPr marL="1371600" algn="ctr" rtl="0" fontAlgn="base">
        <a:spcBef>
          <a:spcPct val="0"/>
        </a:spcBef>
        <a:spcAft>
          <a:spcPct val="0"/>
        </a:spcAft>
        <a:defRPr sz="2400">
          <a:solidFill>
            <a:schemeClr val="tx1"/>
          </a:solidFill>
          <a:latin typeface="+mn-lt"/>
          <a:ea typeface="+mn-ea"/>
          <a:cs typeface="+mn-cs"/>
          <a:sym typeface="Gill Sans" charset="0"/>
        </a:defRPr>
      </a:lvl8pPr>
      <a:lvl9pPr marL="1828800" algn="ctr" rtl="0" fontAlgn="base">
        <a:spcBef>
          <a:spcPct val="0"/>
        </a:spcBef>
        <a:spcAft>
          <a:spcPct val="0"/>
        </a:spcAft>
        <a:defRPr sz="24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88913"/>
            <a:ext cx="82296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smtClean="0"/>
              <a:t>Haga clic para cambiar el estilo de título	</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_tradnl" smtClean="0"/>
              <a:t>Haga clic para modificar el estilo de texto del patrón</a:t>
            </a:r>
          </a:p>
          <a:p>
            <a:pPr lvl="1"/>
            <a:r>
              <a:rPr lang="es-ES_tradnl" smtClean="0"/>
              <a:t>Segundo nivel</a:t>
            </a:r>
          </a:p>
          <a:p>
            <a:pPr lvl="2"/>
            <a:r>
              <a:rPr lang="es-ES_tradnl" smtClean="0"/>
              <a:t>Tercer nivel</a:t>
            </a:r>
          </a:p>
        </p:txBody>
      </p:sp>
    </p:spTree>
    <p:extLst>
      <p:ext uri="{BB962C8B-B14F-4D97-AF65-F5344CB8AC3E}">
        <p14:creationId xmlns:p14="http://schemas.microsoft.com/office/powerpoint/2010/main" val="4086952108"/>
      </p:ext>
    </p:extLst>
  </p:cSld>
  <p:clrMap bg1="lt1" tx1="dk1" bg2="lt2" tx2="dk2" accent1="accent1" accent2="accent2" accent3="accent3" accent4="accent4" accent5="accent5" accent6="accent6" hlink="hlink" folHlink="folHlink"/>
  <p:sldLayoutIdLst>
    <p:sldLayoutId id="2147483791" r:id="rId1"/>
  </p:sldLayoutIdLst>
  <p:timing>
    <p:tnLst>
      <p:par>
        <p:cTn id="1" dur="indefinite" restart="never" nodeType="tmRoot"/>
      </p:par>
    </p:tnLst>
  </p:timing>
  <p:txStyles>
    <p:titleStyle>
      <a:lvl1pPr algn="l" rtl="0" eaLnBrk="0" fontAlgn="base" hangingPunct="0">
        <a:spcBef>
          <a:spcPct val="0"/>
        </a:spcBef>
        <a:spcAft>
          <a:spcPct val="0"/>
        </a:spcAft>
        <a:defRPr sz="2800">
          <a:solidFill>
            <a:schemeClr val="tx2"/>
          </a:solidFill>
          <a:latin typeface="+mj-lt"/>
          <a:ea typeface="ＭＳ Ｐゴシック" pitchFamily="100" charset="-128"/>
          <a:cs typeface="ＭＳ Ｐゴシック" pitchFamily="100" charset="-128"/>
        </a:defRPr>
      </a:lvl1pPr>
      <a:lvl2pPr algn="l" rtl="0" eaLnBrk="0" fontAlgn="base" hangingPunct="0">
        <a:spcBef>
          <a:spcPct val="0"/>
        </a:spcBef>
        <a:spcAft>
          <a:spcPct val="0"/>
        </a:spcAft>
        <a:defRPr sz="2800">
          <a:solidFill>
            <a:schemeClr val="tx2"/>
          </a:solidFill>
          <a:latin typeface="Arial" pitchFamily="34" charset="0"/>
          <a:ea typeface="ＭＳ Ｐゴシック" pitchFamily="100" charset="-128"/>
          <a:cs typeface="ＭＳ Ｐゴシック" pitchFamily="100" charset="-128"/>
        </a:defRPr>
      </a:lvl2pPr>
      <a:lvl3pPr algn="l" rtl="0" eaLnBrk="0" fontAlgn="base" hangingPunct="0">
        <a:spcBef>
          <a:spcPct val="0"/>
        </a:spcBef>
        <a:spcAft>
          <a:spcPct val="0"/>
        </a:spcAft>
        <a:defRPr sz="2800">
          <a:solidFill>
            <a:schemeClr val="tx2"/>
          </a:solidFill>
          <a:latin typeface="Arial" pitchFamily="34" charset="0"/>
          <a:ea typeface="ＭＳ Ｐゴシック" pitchFamily="100" charset="-128"/>
          <a:cs typeface="ＭＳ Ｐゴシック" pitchFamily="100" charset="-128"/>
        </a:defRPr>
      </a:lvl3pPr>
      <a:lvl4pPr algn="l" rtl="0" eaLnBrk="0" fontAlgn="base" hangingPunct="0">
        <a:spcBef>
          <a:spcPct val="0"/>
        </a:spcBef>
        <a:spcAft>
          <a:spcPct val="0"/>
        </a:spcAft>
        <a:defRPr sz="2800">
          <a:solidFill>
            <a:schemeClr val="tx2"/>
          </a:solidFill>
          <a:latin typeface="Arial" pitchFamily="34" charset="0"/>
          <a:ea typeface="ＭＳ Ｐゴシック" pitchFamily="100" charset="-128"/>
          <a:cs typeface="ＭＳ Ｐゴシック" pitchFamily="100" charset="-128"/>
        </a:defRPr>
      </a:lvl4pPr>
      <a:lvl5pPr algn="l" rtl="0" eaLnBrk="0" fontAlgn="base" hangingPunct="0">
        <a:spcBef>
          <a:spcPct val="0"/>
        </a:spcBef>
        <a:spcAft>
          <a:spcPct val="0"/>
        </a:spcAft>
        <a:defRPr sz="2800">
          <a:solidFill>
            <a:schemeClr val="tx2"/>
          </a:solidFill>
          <a:latin typeface="Arial" pitchFamily="34" charset="0"/>
          <a:ea typeface="ＭＳ Ｐゴシック" pitchFamily="100" charset="-128"/>
          <a:cs typeface="ＭＳ Ｐゴシック" pitchFamily="100" charset="-128"/>
        </a:defRPr>
      </a:lvl5pPr>
      <a:lvl6pPr marL="457200" algn="l" rtl="0" fontAlgn="base">
        <a:spcBef>
          <a:spcPct val="0"/>
        </a:spcBef>
        <a:spcAft>
          <a:spcPct val="0"/>
        </a:spcAft>
        <a:defRPr sz="2800">
          <a:solidFill>
            <a:schemeClr val="tx2"/>
          </a:solidFill>
          <a:latin typeface="Arial" pitchFamily="34" charset="0"/>
        </a:defRPr>
      </a:lvl6pPr>
      <a:lvl7pPr marL="914400" algn="l" rtl="0" fontAlgn="base">
        <a:spcBef>
          <a:spcPct val="0"/>
        </a:spcBef>
        <a:spcAft>
          <a:spcPct val="0"/>
        </a:spcAft>
        <a:defRPr sz="2800">
          <a:solidFill>
            <a:schemeClr val="tx2"/>
          </a:solidFill>
          <a:latin typeface="Arial" pitchFamily="34" charset="0"/>
        </a:defRPr>
      </a:lvl7pPr>
      <a:lvl8pPr marL="1371600" algn="l" rtl="0" fontAlgn="base">
        <a:spcBef>
          <a:spcPct val="0"/>
        </a:spcBef>
        <a:spcAft>
          <a:spcPct val="0"/>
        </a:spcAft>
        <a:defRPr sz="2800">
          <a:solidFill>
            <a:schemeClr val="tx2"/>
          </a:solidFill>
          <a:latin typeface="Arial" pitchFamily="34" charset="0"/>
        </a:defRPr>
      </a:lvl8pPr>
      <a:lvl9pPr marL="1828800" algn="l" rtl="0" fontAlgn="base">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SzPct val="200000"/>
        <a:buChar char="•"/>
        <a:defRPr sz="3200">
          <a:solidFill>
            <a:schemeClr val="tx1"/>
          </a:solidFill>
          <a:latin typeface="+mn-lt"/>
          <a:ea typeface="ＭＳ Ｐゴシック" pitchFamily="100" charset="-128"/>
          <a:cs typeface="ＭＳ Ｐゴシック" pitchFamily="100" charset="-128"/>
        </a:defRPr>
      </a:lvl1pPr>
      <a:lvl2pPr marL="742950" indent="-285750" algn="l" rtl="0" eaLnBrk="0" fontAlgn="base" hangingPunct="0">
        <a:spcBef>
          <a:spcPct val="20000"/>
        </a:spcBef>
        <a:spcAft>
          <a:spcPct val="0"/>
        </a:spcAft>
        <a:buClr>
          <a:schemeClr val="tx2"/>
        </a:buClr>
        <a:buFont typeface="Wingdings" panose="05000000000000000000" pitchFamily="2" charset="2"/>
        <a:buChar char="§"/>
        <a:defRPr sz="1600">
          <a:solidFill>
            <a:schemeClr val="tx1"/>
          </a:solidFill>
          <a:latin typeface="+mn-lt"/>
          <a:ea typeface="ＭＳ Ｐゴシック" pitchFamily="100" charset="-128"/>
        </a:defRPr>
      </a:lvl2pPr>
      <a:lvl3pPr marL="1143000" indent="-228600" algn="l" rtl="0" eaLnBrk="0" fontAlgn="base" hangingPunct="0">
        <a:spcBef>
          <a:spcPct val="20000"/>
        </a:spcBef>
        <a:spcAft>
          <a:spcPct val="0"/>
        </a:spcAft>
        <a:buClr>
          <a:schemeClr val="tx1"/>
        </a:buClr>
        <a:buChar char="•"/>
        <a:defRPr sz="1400">
          <a:solidFill>
            <a:schemeClr val="tx1"/>
          </a:solidFill>
          <a:latin typeface="+mn-lt"/>
          <a:ea typeface="ＭＳ Ｐゴシック" pitchFamily="100"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100"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pitchFamily="100"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47" name="AutoShape 5"/>
          <p:cNvSpPr>
            <a:spLocks/>
          </p:cNvSpPr>
          <p:nvPr/>
        </p:nvSpPr>
        <p:spPr bwMode="auto">
          <a:xfrm>
            <a:off x="8028844" y="6502400"/>
            <a:ext cx="830873" cy="249238"/>
          </a:xfrm>
          <a:custGeom>
            <a:avLst/>
            <a:gdLst>
              <a:gd name="T0" fmla="*/ 0 w 21600"/>
              <a:gd name="T1" fmla="*/ 892206852 h 21600"/>
              <a:gd name="T2" fmla="*/ 2147483647 w 21600"/>
              <a:gd name="T3" fmla="*/ 141473318 h 21600"/>
              <a:gd name="T4" fmla="*/ 2147483647 w 21600"/>
              <a:gd name="T5" fmla="*/ 96575026 h 21600"/>
              <a:gd name="T6" fmla="*/ 2147483647 w 21600"/>
              <a:gd name="T7" fmla="*/ 275193756 h 21600"/>
              <a:gd name="T8" fmla="*/ 2147483647 w 21600"/>
              <a:gd name="T9" fmla="*/ 59300706 h 21600"/>
              <a:gd name="T10" fmla="*/ 2147483647 w 21600"/>
              <a:gd name="T11" fmla="*/ 702363606 h 21600"/>
              <a:gd name="T12" fmla="*/ 2147483647 w 21600"/>
              <a:gd name="T13" fmla="*/ 341566847 h 21600"/>
              <a:gd name="T14" fmla="*/ 2147483647 w 21600"/>
              <a:gd name="T15" fmla="*/ 6989884 h 21600"/>
              <a:gd name="T16" fmla="*/ 2147483647 w 21600"/>
              <a:gd name="T17" fmla="*/ 12835521 h 21600"/>
              <a:gd name="T18" fmla="*/ 2147483647 w 21600"/>
              <a:gd name="T19" fmla="*/ 406713202 h 21600"/>
              <a:gd name="T20" fmla="*/ 2147483647 w 21600"/>
              <a:gd name="T21" fmla="*/ 446866336 h 21600"/>
              <a:gd name="T22" fmla="*/ 2147483647 w 21600"/>
              <a:gd name="T23" fmla="*/ 193528986 h 21600"/>
              <a:gd name="T24" fmla="*/ 2147483647 w 21600"/>
              <a:gd name="T25" fmla="*/ 592022721 h 21600"/>
              <a:gd name="T26" fmla="*/ 2147483647 w 21600"/>
              <a:gd name="T27" fmla="*/ 635735349 h 21600"/>
              <a:gd name="T28" fmla="*/ 2147483647 w 21600"/>
              <a:gd name="T29" fmla="*/ 421156883 h 21600"/>
              <a:gd name="T30" fmla="*/ 2147483647 w 21600"/>
              <a:gd name="T31" fmla="*/ 88484663 h 21600"/>
              <a:gd name="T32" fmla="*/ 2147483647 w 21600"/>
              <a:gd name="T33" fmla="*/ 232540374 h 21600"/>
              <a:gd name="T34" fmla="*/ 2147483647 w 21600"/>
              <a:gd name="T35" fmla="*/ 232540374 h 21600"/>
              <a:gd name="T36" fmla="*/ 2147483647 w 21600"/>
              <a:gd name="T37" fmla="*/ 528997692 h 21600"/>
              <a:gd name="T38" fmla="*/ 2147483647 w 21600"/>
              <a:gd name="T39" fmla="*/ 523871306 h 21600"/>
              <a:gd name="T40" fmla="*/ 2147483647 w 21600"/>
              <a:gd name="T41" fmla="*/ 493754362 h 21600"/>
              <a:gd name="T42" fmla="*/ 2147483647 w 21600"/>
              <a:gd name="T43" fmla="*/ 631585869 h 21600"/>
              <a:gd name="T44" fmla="*/ 2147483647 w 21600"/>
              <a:gd name="T45" fmla="*/ 201322939 h 21600"/>
              <a:gd name="T46" fmla="*/ 2147483647 w 21600"/>
              <a:gd name="T47" fmla="*/ 482658754 h 21600"/>
              <a:gd name="T48" fmla="*/ 2147483647 w 21600"/>
              <a:gd name="T49" fmla="*/ 231014554 h 21600"/>
              <a:gd name="T50" fmla="*/ 2147483647 w 21600"/>
              <a:gd name="T51" fmla="*/ 318228550 h 21600"/>
              <a:gd name="T52" fmla="*/ 2147483647 w 21600"/>
              <a:gd name="T53" fmla="*/ 277015998 h 21600"/>
              <a:gd name="T54" fmla="*/ 2147483647 w 21600"/>
              <a:gd name="T55" fmla="*/ 522811888 h 21600"/>
              <a:gd name="T56" fmla="*/ 2147483647 w 21600"/>
              <a:gd name="T57" fmla="*/ 219323441 h 21600"/>
              <a:gd name="T58" fmla="*/ 2147483647 w 21600"/>
              <a:gd name="T59" fmla="*/ 536451489 h 21600"/>
              <a:gd name="T60" fmla="*/ 2147483647 w 21600"/>
              <a:gd name="T61" fmla="*/ 359611267 h 21600"/>
              <a:gd name="T62" fmla="*/ 2147483647 w 21600"/>
              <a:gd name="T63" fmla="*/ 245035739 h 21600"/>
              <a:gd name="T64" fmla="*/ 2147483647 w 21600"/>
              <a:gd name="T65" fmla="*/ 482658754 h 21600"/>
              <a:gd name="T66" fmla="*/ 2147483647 w 21600"/>
              <a:gd name="T67" fmla="*/ 710539155 h 21600"/>
              <a:gd name="T68" fmla="*/ 2147483647 w 21600"/>
              <a:gd name="T69" fmla="*/ 238512269 h 21600"/>
              <a:gd name="T70" fmla="*/ 2147483647 w 21600"/>
              <a:gd name="T71" fmla="*/ 386550130 h 21600"/>
              <a:gd name="T72" fmla="*/ 2147483647 w 21600"/>
              <a:gd name="T73" fmla="*/ 290400434 h 21600"/>
              <a:gd name="T74" fmla="*/ 2147483647 w 21600"/>
              <a:gd name="T75" fmla="*/ 415056069 h 21600"/>
              <a:gd name="T76" fmla="*/ 2147483647 w 21600"/>
              <a:gd name="T77" fmla="*/ 544753284 h 21600"/>
              <a:gd name="T78" fmla="*/ 2147483647 w 21600"/>
              <a:gd name="T79" fmla="*/ 589991905 h 21600"/>
              <a:gd name="T80" fmla="*/ 2147483647 w 21600"/>
              <a:gd name="T81" fmla="*/ 201067773 h 21600"/>
              <a:gd name="T82" fmla="*/ 2147483647 w 21600"/>
              <a:gd name="T83" fmla="*/ 231736294 h 21600"/>
              <a:gd name="T84" fmla="*/ 2147483647 w 21600"/>
              <a:gd name="T85" fmla="*/ 241690339 h 21600"/>
              <a:gd name="T86" fmla="*/ 2147483647 w 21600"/>
              <a:gd name="T87" fmla="*/ 501633500 h 21600"/>
              <a:gd name="T88" fmla="*/ 2147483647 w 21600"/>
              <a:gd name="T89" fmla="*/ 202171109 h 21600"/>
              <a:gd name="T90" fmla="*/ 2147483647 w 21600"/>
              <a:gd name="T91" fmla="*/ 34859246 h 21600"/>
              <a:gd name="T92" fmla="*/ 2147483647 w 21600"/>
              <a:gd name="T93" fmla="*/ 161040897 h 21600"/>
              <a:gd name="T94" fmla="*/ 2147483647 w 21600"/>
              <a:gd name="T95" fmla="*/ 209369568 h 21600"/>
              <a:gd name="T96" fmla="*/ 2147483647 w 21600"/>
              <a:gd name="T97" fmla="*/ 245966066 h 21600"/>
              <a:gd name="T98" fmla="*/ 2147483647 w 21600"/>
              <a:gd name="T99" fmla="*/ 501592243 h 21600"/>
              <a:gd name="T100" fmla="*/ 2147483647 w 21600"/>
              <a:gd name="T101" fmla="*/ 239486513 h 21600"/>
              <a:gd name="T102" fmla="*/ 2147483647 w 21600"/>
              <a:gd name="T103" fmla="*/ 497651349 h 21600"/>
              <a:gd name="T104" fmla="*/ 2147483647 w 21600"/>
              <a:gd name="T105" fmla="*/ 415522655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rgbClr val="003346"/>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solidFill>
                <a:srgbClr val="003245"/>
              </a:solidFill>
            </a:endParaRPr>
          </a:p>
        </p:txBody>
      </p:sp>
      <p:sp>
        <p:nvSpPr>
          <p:cNvPr id="6148" name="Rectangle 13"/>
          <p:cNvSpPr>
            <a:spLocks/>
          </p:cNvSpPr>
          <p:nvPr/>
        </p:nvSpPr>
        <p:spPr bwMode="auto">
          <a:xfrm rot="10800000">
            <a:off x="7164292" y="6332538"/>
            <a:ext cx="864577" cy="49212"/>
          </a:xfrm>
          <a:prstGeom prst="rect">
            <a:avLst/>
          </a:prstGeom>
          <a:solidFill>
            <a:srgbClr val="156273"/>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49" name="Rectangle 12"/>
          <p:cNvSpPr>
            <a:spLocks/>
          </p:cNvSpPr>
          <p:nvPr/>
        </p:nvSpPr>
        <p:spPr bwMode="auto">
          <a:xfrm rot="10800000">
            <a:off x="8015680" y="6332538"/>
            <a:ext cx="1122485" cy="49212"/>
          </a:xfrm>
          <a:prstGeom prst="rect">
            <a:avLst/>
          </a:prstGeom>
          <a:solidFill>
            <a:srgbClr val="115362"/>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0" name="Rectangle 14"/>
          <p:cNvSpPr>
            <a:spLocks/>
          </p:cNvSpPr>
          <p:nvPr/>
        </p:nvSpPr>
        <p:spPr bwMode="auto">
          <a:xfrm rot="10800000">
            <a:off x="6268916" y="6332538"/>
            <a:ext cx="895350" cy="49212"/>
          </a:xfrm>
          <a:prstGeom prst="rect">
            <a:avLst/>
          </a:prstGeom>
          <a:solidFill>
            <a:srgbClr val="1C849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6151" name="Rectangle 15"/>
          <p:cNvSpPr>
            <a:spLocks/>
          </p:cNvSpPr>
          <p:nvPr/>
        </p:nvSpPr>
        <p:spPr bwMode="auto">
          <a:xfrm rot="10800000">
            <a:off x="-5857" y="6332538"/>
            <a:ext cx="6274777" cy="49212"/>
          </a:xfrm>
          <a:prstGeom prst="rect">
            <a:avLst/>
          </a:prstGeom>
          <a:solidFill>
            <a:srgbClr val="29C6D4"/>
          </a:solidFill>
          <a:ln>
            <a:noFill/>
          </a:ln>
          <a:extLst>
            <a:ext uri="{91240B29-F687-4F45-9708-019B960494DF}">
              <a14:hiddenLine xmlns:a14="http://schemas.microsoft.com/office/drawing/2010/main" w="25400">
                <a:solidFill>
                  <a:srgbClr val="000000"/>
                </a:solidFill>
                <a:round/>
                <a:headEnd/>
                <a:tailEnd/>
              </a14:hiddenLine>
            </a:ext>
          </a:extLst>
        </p:spPr>
        <p:txBody>
          <a:bodyPr lIns="0" tIns="0" rIns="0" bIns="0"/>
          <a:lstStyle/>
          <a:p>
            <a:endParaRPr lang="es-ES">
              <a:solidFill>
                <a:srgbClr val="003245"/>
              </a:solidFill>
            </a:endParaRPr>
          </a:p>
        </p:txBody>
      </p:sp>
      <p:sp>
        <p:nvSpPr>
          <p:cNvPr id="14" name="Slide Number Placeholder 2"/>
          <p:cNvSpPr>
            <a:spLocks noGrp="1"/>
          </p:cNvSpPr>
          <p:nvPr>
            <p:ph type="sldNum" sz="quarter" idx="4"/>
          </p:nvPr>
        </p:nvSpPr>
        <p:spPr>
          <a:xfrm>
            <a:off x="4425880" y="6464175"/>
            <a:ext cx="279065" cy="2923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bodyPr>
          <a:lstStyle>
            <a:lvl1pPr>
              <a:defRPr lang="en-US" sz="1000" smtClean="0">
                <a:solidFill>
                  <a:srgbClr val="072534"/>
                </a:solidFill>
                <a:latin typeface="Trebuchet MS" pitchFamily="34" charset="0"/>
                <a:sym typeface="Trebuchet MS" pitchFamily="34" charset="0"/>
              </a:defRPr>
            </a:lvl1pPr>
          </a:lstStyle>
          <a:p>
            <a:fld id="{9D9F8B9A-560A-470D-9EA6-79F5999904E6}" type="slidenum">
              <a:rPr lang="en-GB"/>
              <a:pPr/>
              <a:t>‹#›</a:t>
            </a:fld>
            <a:endParaRPr lang="en-GB" dirty="0"/>
          </a:p>
        </p:txBody>
      </p:sp>
      <p:sp>
        <p:nvSpPr>
          <p:cNvPr id="20" name="AutoShape 2"/>
          <p:cNvSpPr>
            <a:spLocks/>
          </p:cNvSpPr>
          <p:nvPr userDrawn="1"/>
        </p:nvSpPr>
        <p:spPr bwMode="auto">
          <a:xfrm>
            <a:off x="5521840" y="44450"/>
            <a:ext cx="3578225" cy="711200"/>
          </a:xfrm>
          <a:custGeom>
            <a:avLst/>
            <a:gdLst>
              <a:gd name="T0" fmla="*/ 2849 w 21600"/>
              <a:gd name="T1" fmla="*/ 2083 h 21600"/>
              <a:gd name="T2" fmla="*/ 2593 w 21600"/>
              <a:gd name="T3" fmla="*/ 15539 h 21600"/>
              <a:gd name="T4" fmla="*/ 0 w 21600"/>
              <a:gd name="T5" fmla="*/ 18263 h 21600"/>
              <a:gd name="T6" fmla="*/ 1595 w 21600"/>
              <a:gd name="T7" fmla="*/ 0 h 21600"/>
              <a:gd name="T8" fmla="*/ 1126 w 21600"/>
              <a:gd name="T9" fmla="*/ 15219 h 21600"/>
              <a:gd name="T10" fmla="*/ 2351 w 21600"/>
              <a:gd name="T11" fmla="*/ 7210 h 21600"/>
              <a:gd name="T12" fmla="*/ 1575 w 21600"/>
              <a:gd name="T13" fmla="*/ 3045 h 21600"/>
              <a:gd name="T14" fmla="*/ 869 w 21600"/>
              <a:gd name="T15" fmla="*/ 15219 h 21600"/>
              <a:gd name="T16" fmla="*/ 5541 w 21600"/>
              <a:gd name="T17" fmla="*/ 10574 h 21600"/>
              <a:gd name="T18" fmla="*/ 4484 w 21600"/>
              <a:gd name="T19" fmla="*/ 7450 h 21600"/>
              <a:gd name="T20" fmla="*/ 6079 w 21600"/>
              <a:gd name="T21" fmla="*/ 3018 h 21600"/>
              <a:gd name="T22" fmla="*/ 3956 w 21600"/>
              <a:gd name="T23" fmla="*/ 1 h 21600"/>
              <a:gd name="T24" fmla="*/ 5669 w 21600"/>
              <a:gd name="T25" fmla="*/ 18263 h 21600"/>
              <a:gd name="T26" fmla="*/ 4232 w 21600"/>
              <a:gd name="T27" fmla="*/ 15246 h 21600"/>
              <a:gd name="T28" fmla="*/ 8514 w 21600"/>
              <a:gd name="T29" fmla="*/ 18262 h 21600"/>
              <a:gd name="T30" fmla="*/ 7111 w 21600"/>
              <a:gd name="T31" fmla="*/ 15245 h 21600"/>
              <a:gd name="T32" fmla="*/ 6840 w 21600"/>
              <a:gd name="T33" fmla="*/ 0 h 21600"/>
              <a:gd name="T34" fmla="*/ 8514 w 21600"/>
              <a:gd name="T35" fmla="*/ 18262 h 21600"/>
              <a:gd name="T36" fmla="*/ 9793 w 21600"/>
              <a:gd name="T37" fmla="*/ 18263 h 21600"/>
              <a:gd name="T38" fmla="*/ 9615 w 21600"/>
              <a:gd name="T39" fmla="*/ 0 h 21600"/>
              <a:gd name="T40" fmla="*/ 10830 w 21600"/>
              <a:gd name="T41" fmla="*/ 0 h 21600"/>
              <a:gd name="T42" fmla="*/ 12247 w 21600"/>
              <a:gd name="T43" fmla="*/ 18263 h 21600"/>
              <a:gd name="T44" fmla="*/ 13170 w 21600"/>
              <a:gd name="T45" fmla="*/ 0 h 21600"/>
              <a:gd name="T46" fmla="*/ 11625 w 21600"/>
              <a:gd name="T47" fmla="*/ 0 h 21600"/>
              <a:gd name="T48" fmla="*/ 14790 w 21600"/>
              <a:gd name="T49" fmla="*/ 10574 h 21600"/>
              <a:gd name="T50" fmla="*/ 16054 w 21600"/>
              <a:gd name="T51" fmla="*/ 7450 h 21600"/>
              <a:gd name="T52" fmla="*/ 15037 w 21600"/>
              <a:gd name="T53" fmla="*/ 3018 h 21600"/>
              <a:gd name="T54" fmla="*/ 16647 w 21600"/>
              <a:gd name="T55" fmla="*/ 1 h 21600"/>
              <a:gd name="T56" fmla="*/ 13773 w 21600"/>
              <a:gd name="T57" fmla="*/ 18263 h 21600"/>
              <a:gd name="T58" fmla="*/ 16173 w 21600"/>
              <a:gd name="T59" fmla="*/ 15246 h 21600"/>
              <a:gd name="T60" fmla="*/ 14790 w 21600"/>
              <a:gd name="T61" fmla="*/ 10574 h 21600"/>
              <a:gd name="T62" fmla="*/ 18790 w 21600"/>
              <a:gd name="T63" fmla="*/ 10947 h 21600"/>
              <a:gd name="T64" fmla="*/ 18489 w 21600"/>
              <a:gd name="T65" fmla="*/ 18262 h 21600"/>
              <a:gd name="T66" fmla="*/ 17640 w 21600"/>
              <a:gd name="T67" fmla="*/ 11641 h 21600"/>
              <a:gd name="T68" fmla="*/ 16657 w 21600"/>
              <a:gd name="T69" fmla="*/ 18262 h 21600"/>
              <a:gd name="T70" fmla="*/ 18400 w 21600"/>
              <a:gd name="T71" fmla="*/ 0 h 21600"/>
              <a:gd name="T72" fmla="*/ 19580 w 21600"/>
              <a:gd name="T73" fmla="*/ 5207 h 21600"/>
              <a:gd name="T74" fmla="*/ 17738 w 21600"/>
              <a:gd name="T75" fmla="*/ 8624 h 21600"/>
              <a:gd name="T76" fmla="*/ 18627 w 21600"/>
              <a:gd name="T77" fmla="*/ 7663 h 21600"/>
              <a:gd name="T78" fmla="*/ 18716 w 21600"/>
              <a:gd name="T79" fmla="*/ 3685 h 21600"/>
              <a:gd name="T80" fmla="*/ 17921 w 21600"/>
              <a:gd name="T81" fmla="*/ 3017 h 21600"/>
              <a:gd name="T82" fmla="*/ 21511 w 21600"/>
              <a:gd name="T83" fmla="*/ 21600 h 21600"/>
              <a:gd name="T84" fmla="*/ 19482 w 21600"/>
              <a:gd name="T85" fmla="*/ 19011 h 21600"/>
              <a:gd name="T86" fmla="*/ 21511 w 21600"/>
              <a:gd name="T87"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600" h="21600">
                <a:moveTo>
                  <a:pt x="1595" y="0"/>
                </a:moveTo>
                <a:cubicBezTo>
                  <a:pt x="2099" y="0"/>
                  <a:pt x="2568" y="481"/>
                  <a:pt x="2849" y="2083"/>
                </a:cubicBezTo>
                <a:cubicBezTo>
                  <a:pt x="3072" y="3338"/>
                  <a:pt x="3146" y="5074"/>
                  <a:pt x="3146" y="7129"/>
                </a:cubicBezTo>
                <a:cubicBezTo>
                  <a:pt x="3146" y="10386"/>
                  <a:pt x="2963" y="13484"/>
                  <a:pt x="2593" y="15539"/>
                </a:cubicBezTo>
                <a:cubicBezTo>
                  <a:pt x="2203" y="17702"/>
                  <a:pt x="1659" y="18263"/>
                  <a:pt x="1047" y="18263"/>
                </a:cubicBezTo>
                <a:lnTo>
                  <a:pt x="0" y="18263"/>
                </a:lnTo>
                <a:lnTo>
                  <a:pt x="593" y="0"/>
                </a:lnTo>
                <a:lnTo>
                  <a:pt x="1595" y="0"/>
                </a:lnTo>
                <a:close/>
                <a:moveTo>
                  <a:pt x="869" y="15219"/>
                </a:moveTo>
                <a:lnTo>
                  <a:pt x="1126" y="15219"/>
                </a:lnTo>
                <a:cubicBezTo>
                  <a:pt x="1546" y="15219"/>
                  <a:pt x="1822" y="14659"/>
                  <a:pt x="2039" y="12977"/>
                </a:cubicBezTo>
                <a:cubicBezTo>
                  <a:pt x="2217" y="11588"/>
                  <a:pt x="2351" y="9479"/>
                  <a:pt x="2351" y="7210"/>
                </a:cubicBezTo>
                <a:cubicBezTo>
                  <a:pt x="2351" y="5821"/>
                  <a:pt x="2301" y="4833"/>
                  <a:pt x="2188" y="4138"/>
                </a:cubicBezTo>
                <a:cubicBezTo>
                  <a:pt x="2069" y="3419"/>
                  <a:pt x="1881" y="3045"/>
                  <a:pt x="1575" y="3045"/>
                </a:cubicBezTo>
                <a:lnTo>
                  <a:pt x="1264" y="3045"/>
                </a:lnTo>
                <a:lnTo>
                  <a:pt x="869" y="15219"/>
                </a:lnTo>
                <a:close/>
                <a:moveTo>
                  <a:pt x="4380" y="10574"/>
                </a:moveTo>
                <a:lnTo>
                  <a:pt x="5541" y="10574"/>
                </a:lnTo>
                <a:lnTo>
                  <a:pt x="5644" y="7450"/>
                </a:lnTo>
                <a:lnTo>
                  <a:pt x="4484" y="7450"/>
                </a:lnTo>
                <a:lnTo>
                  <a:pt x="4627" y="3018"/>
                </a:lnTo>
                <a:lnTo>
                  <a:pt x="6079" y="3018"/>
                </a:lnTo>
                <a:lnTo>
                  <a:pt x="6237" y="1"/>
                </a:lnTo>
                <a:lnTo>
                  <a:pt x="3956" y="1"/>
                </a:lnTo>
                <a:lnTo>
                  <a:pt x="3363" y="18263"/>
                </a:lnTo>
                <a:lnTo>
                  <a:pt x="5669" y="18263"/>
                </a:lnTo>
                <a:lnTo>
                  <a:pt x="5763" y="15246"/>
                </a:lnTo>
                <a:lnTo>
                  <a:pt x="4232" y="15246"/>
                </a:lnTo>
                <a:lnTo>
                  <a:pt x="4380" y="10574"/>
                </a:lnTo>
                <a:close/>
                <a:moveTo>
                  <a:pt x="8514" y="18262"/>
                </a:moveTo>
                <a:lnTo>
                  <a:pt x="8607" y="15245"/>
                </a:lnTo>
                <a:lnTo>
                  <a:pt x="7111" y="15245"/>
                </a:lnTo>
                <a:lnTo>
                  <a:pt x="7610" y="0"/>
                </a:lnTo>
                <a:lnTo>
                  <a:pt x="6840" y="0"/>
                </a:lnTo>
                <a:lnTo>
                  <a:pt x="6247" y="18262"/>
                </a:lnTo>
                <a:lnTo>
                  <a:pt x="8514" y="18262"/>
                </a:lnTo>
                <a:close/>
                <a:moveTo>
                  <a:pt x="9022" y="18263"/>
                </a:moveTo>
                <a:lnTo>
                  <a:pt x="9793" y="18263"/>
                </a:lnTo>
                <a:lnTo>
                  <a:pt x="10385" y="0"/>
                </a:lnTo>
                <a:lnTo>
                  <a:pt x="9615" y="0"/>
                </a:lnTo>
                <a:lnTo>
                  <a:pt x="9022" y="18263"/>
                </a:lnTo>
                <a:close/>
                <a:moveTo>
                  <a:pt x="10830" y="0"/>
                </a:moveTo>
                <a:lnTo>
                  <a:pt x="11412" y="18263"/>
                </a:lnTo>
                <a:lnTo>
                  <a:pt x="12247" y="18263"/>
                </a:lnTo>
                <a:lnTo>
                  <a:pt x="13961" y="0"/>
                </a:lnTo>
                <a:lnTo>
                  <a:pt x="13170" y="0"/>
                </a:lnTo>
                <a:lnTo>
                  <a:pt x="11995" y="13457"/>
                </a:lnTo>
                <a:lnTo>
                  <a:pt x="11625" y="0"/>
                </a:lnTo>
                <a:lnTo>
                  <a:pt x="10830" y="0"/>
                </a:lnTo>
                <a:close/>
                <a:moveTo>
                  <a:pt x="14790" y="10574"/>
                </a:moveTo>
                <a:lnTo>
                  <a:pt x="15951" y="10574"/>
                </a:lnTo>
                <a:lnTo>
                  <a:pt x="16054" y="7450"/>
                </a:lnTo>
                <a:lnTo>
                  <a:pt x="14894" y="7450"/>
                </a:lnTo>
                <a:lnTo>
                  <a:pt x="15037" y="3018"/>
                </a:lnTo>
                <a:lnTo>
                  <a:pt x="16489" y="3018"/>
                </a:lnTo>
                <a:lnTo>
                  <a:pt x="16647" y="1"/>
                </a:lnTo>
                <a:lnTo>
                  <a:pt x="14365" y="1"/>
                </a:lnTo>
                <a:lnTo>
                  <a:pt x="13773" y="18263"/>
                </a:lnTo>
                <a:lnTo>
                  <a:pt x="16079" y="18263"/>
                </a:lnTo>
                <a:lnTo>
                  <a:pt x="16173" y="15246"/>
                </a:lnTo>
                <a:lnTo>
                  <a:pt x="14642" y="15246"/>
                </a:lnTo>
                <a:lnTo>
                  <a:pt x="14790" y="10574"/>
                </a:lnTo>
                <a:close/>
                <a:moveTo>
                  <a:pt x="19397" y="8597"/>
                </a:moveTo>
                <a:cubicBezTo>
                  <a:pt x="19269" y="9559"/>
                  <a:pt x="19062" y="10360"/>
                  <a:pt x="18790" y="10947"/>
                </a:cubicBezTo>
                <a:lnTo>
                  <a:pt x="19314" y="18262"/>
                </a:lnTo>
                <a:lnTo>
                  <a:pt x="18489" y="18262"/>
                </a:lnTo>
                <a:lnTo>
                  <a:pt x="18094" y="11641"/>
                </a:lnTo>
                <a:lnTo>
                  <a:pt x="17640" y="11641"/>
                </a:lnTo>
                <a:lnTo>
                  <a:pt x="17427" y="18262"/>
                </a:lnTo>
                <a:lnTo>
                  <a:pt x="16657" y="18262"/>
                </a:lnTo>
                <a:lnTo>
                  <a:pt x="17249" y="0"/>
                </a:lnTo>
                <a:lnTo>
                  <a:pt x="18400" y="0"/>
                </a:lnTo>
                <a:cubicBezTo>
                  <a:pt x="18820" y="0"/>
                  <a:pt x="19111" y="481"/>
                  <a:pt x="19294" y="1336"/>
                </a:cubicBezTo>
                <a:cubicBezTo>
                  <a:pt x="19496" y="2269"/>
                  <a:pt x="19580" y="3631"/>
                  <a:pt x="19580" y="5207"/>
                </a:cubicBezTo>
                <a:cubicBezTo>
                  <a:pt x="19580" y="6514"/>
                  <a:pt x="19521" y="7663"/>
                  <a:pt x="19397" y="8597"/>
                </a:cubicBezTo>
                <a:moveTo>
                  <a:pt x="17738" y="8624"/>
                </a:moveTo>
                <a:lnTo>
                  <a:pt x="18035" y="8624"/>
                </a:lnTo>
                <a:cubicBezTo>
                  <a:pt x="18272" y="8624"/>
                  <a:pt x="18484" y="8383"/>
                  <a:pt x="18627" y="7663"/>
                </a:cubicBezTo>
                <a:cubicBezTo>
                  <a:pt x="18741" y="7103"/>
                  <a:pt x="18815" y="6195"/>
                  <a:pt x="18815" y="5233"/>
                </a:cubicBezTo>
                <a:cubicBezTo>
                  <a:pt x="18815" y="4619"/>
                  <a:pt x="18785" y="4059"/>
                  <a:pt x="18716" y="3685"/>
                </a:cubicBezTo>
                <a:cubicBezTo>
                  <a:pt x="18637" y="3258"/>
                  <a:pt x="18514" y="3017"/>
                  <a:pt x="18306" y="3017"/>
                </a:cubicBezTo>
                <a:lnTo>
                  <a:pt x="17921" y="3017"/>
                </a:lnTo>
                <a:lnTo>
                  <a:pt x="17738" y="8624"/>
                </a:lnTo>
                <a:close/>
                <a:moveTo>
                  <a:pt x="21511" y="21600"/>
                </a:moveTo>
                <a:lnTo>
                  <a:pt x="21600" y="19011"/>
                </a:lnTo>
                <a:lnTo>
                  <a:pt x="19482" y="19011"/>
                </a:lnTo>
                <a:lnTo>
                  <a:pt x="19393" y="21600"/>
                </a:lnTo>
                <a:lnTo>
                  <a:pt x="21511" y="21600"/>
                </a:lnTo>
                <a:close/>
                <a:moveTo>
                  <a:pt x="21511" y="21600"/>
                </a:moveTo>
              </a:path>
            </a:pathLst>
          </a:custGeom>
          <a:solidFill>
            <a:schemeClr val="accent1">
              <a:alpha val="25000"/>
            </a:schemeClr>
          </a:solidFill>
          <a:ln>
            <a:noFill/>
          </a:ln>
        </p:spPr>
        <p:txBody>
          <a:bodyPr lIns="0" tIns="0" rIns="0" bIns="0"/>
          <a:lstStyle/>
          <a:p>
            <a:endParaRPr lang="es-ES">
              <a:solidFill>
                <a:srgbClr val="003245"/>
              </a:solidFill>
            </a:endParaRPr>
          </a:p>
        </p:txBody>
      </p:sp>
      <p:sp>
        <p:nvSpPr>
          <p:cNvPr id="21" name="AutoShape 2"/>
          <p:cNvSpPr>
            <a:spLocks noChangeAspect="1"/>
          </p:cNvSpPr>
          <p:nvPr userDrawn="1"/>
        </p:nvSpPr>
        <p:spPr bwMode="auto">
          <a:xfrm>
            <a:off x="6502358" y="476250"/>
            <a:ext cx="2383701" cy="423427"/>
          </a:xfrm>
          <a:custGeom>
            <a:avLst/>
            <a:gdLst>
              <a:gd name="T0" fmla="*/ 2849 w 21600"/>
              <a:gd name="T1" fmla="*/ 2083 h 21600"/>
              <a:gd name="T2" fmla="*/ 2593 w 21600"/>
              <a:gd name="T3" fmla="*/ 15539 h 21600"/>
              <a:gd name="T4" fmla="*/ 0 w 21600"/>
              <a:gd name="T5" fmla="*/ 18263 h 21600"/>
              <a:gd name="T6" fmla="*/ 1595 w 21600"/>
              <a:gd name="T7" fmla="*/ 0 h 21600"/>
              <a:gd name="T8" fmla="*/ 1126 w 21600"/>
              <a:gd name="T9" fmla="*/ 15219 h 21600"/>
              <a:gd name="T10" fmla="*/ 2351 w 21600"/>
              <a:gd name="T11" fmla="*/ 7210 h 21600"/>
              <a:gd name="T12" fmla="*/ 1575 w 21600"/>
              <a:gd name="T13" fmla="*/ 3045 h 21600"/>
              <a:gd name="T14" fmla="*/ 869 w 21600"/>
              <a:gd name="T15" fmla="*/ 15219 h 21600"/>
              <a:gd name="T16" fmla="*/ 5541 w 21600"/>
              <a:gd name="T17" fmla="*/ 10574 h 21600"/>
              <a:gd name="T18" fmla="*/ 4484 w 21600"/>
              <a:gd name="T19" fmla="*/ 7450 h 21600"/>
              <a:gd name="T20" fmla="*/ 6079 w 21600"/>
              <a:gd name="T21" fmla="*/ 3018 h 21600"/>
              <a:gd name="T22" fmla="*/ 3956 w 21600"/>
              <a:gd name="T23" fmla="*/ 1 h 21600"/>
              <a:gd name="T24" fmla="*/ 5669 w 21600"/>
              <a:gd name="T25" fmla="*/ 18263 h 21600"/>
              <a:gd name="T26" fmla="*/ 4232 w 21600"/>
              <a:gd name="T27" fmla="*/ 15246 h 21600"/>
              <a:gd name="T28" fmla="*/ 8514 w 21600"/>
              <a:gd name="T29" fmla="*/ 18262 h 21600"/>
              <a:gd name="T30" fmla="*/ 7111 w 21600"/>
              <a:gd name="T31" fmla="*/ 15245 h 21600"/>
              <a:gd name="T32" fmla="*/ 6840 w 21600"/>
              <a:gd name="T33" fmla="*/ 0 h 21600"/>
              <a:gd name="T34" fmla="*/ 8514 w 21600"/>
              <a:gd name="T35" fmla="*/ 18262 h 21600"/>
              <a:gd name="T36" fmla="*/ 9793 w 21600"/>
              <a:gd name="T37" fmla="*/ 18263 h 21600"/>
              <a:gd name="T38" fmla="*/ 9615 w 21600"/>
              <a:gd name="T39" fmla="*/ 0 h 21600"/>
              <a:gd name="T40" fmla="*/ 10830 w 21600"/>
              <a:gd name="T41" fmla="*/ 0 h 21600"/>
              <a:gd name="T42" fmla="*/ 12247 w 21600"/>
              <a:gd name="T43" fmla="*/ 18263 h 21600"/>
              <a:gd name="T44" fmla="*/ 13170 w 21600"/>
              <a:gd name="T45" fmla="*/ 0 h 21600"/>
              <a:gd name="T46" fmla="*/ 11625 w 21600"/>
              <a:gd name="T47" fmla="*/ 0 h 21600"/>
              <a:gd name="T48" fmla="*/ 14790 w 21600"/>
              <a:gd name="T49" fmla="*/ 10574 h 21600"/>
              <a:gd name="T50" fmla="*/ 16054 w 21600"/>
              <a:gd name="T51" fmla="*/ 7450 h 21600"/>
              <a:gd name="T52" fmla="*/ 15037 w 21600"/>
              <a:gd name="T53" fmla="*/ 3018 h 21600"/>
              <a:gd name="T54" fmla="*/ 16647 w 21600"/>
              <a:gd name="T55" fmla="*/ 1 h 21600"/>
              <a:gd name="T56" fmla="*/ 13773 w 21600"/>
              <a:gd name="T57" fmla="*/ 18263 h 21600"/>
              <a:gd name="T58" fmla="*/ 16173 w 21600"/>
              <a:gd name="T59" fmla="*/ 15246 h 21600"/>
              <a:gd name="T60" fmla="*/ 14790 w 21600"/>
              <a:gd name="T61" fmla="*/ 10574 h 21600"/>
              <a:gd name="T62" fmla="*/ 18790 w 21600"/>
              <a:gd name="T63" fmla="*/ 10947 h 21600"/>
              <a:gd name="T64" fmla="*/ 18489 w 21600"/>
              <a:gd name="T65" fmla="*/ 18262 h 21600"/>
              <a:gd name="T66" fmla="*/ 17640 w 21600"/>
              <a:gd name="T67" fmla="*/ 11641 h 21600"/>
              <a:gd name="T68" fmla="*/ 16657 w 21600"/>
              <a:gd name="T69" fmla="*/ 18262 h 21600"/>
              <a:gd name="T70" fmla="*/ 18400 w 21600"/>
              <a:gd name="T71" fmla="*/ 0 h 21600"/>
              <a:gd name="T72" fmla="*/ 19580 w 21600"/>
              <a:gd name="T73" fmla="*/ 5207 h 21600"/>
              <a:gd name="T74" fmla="*/ 17738 w 21600"/>
              <a:gd name="T75" fmla="*/ 8624 h 21600"/>
              <a:gd name="T76" fmla="*/ 18627 w 21600"/>
              <a:gd name="T77" fmla="*/ 7663 h 21600"/>
              <a:gd name="T78" fmla="*/ 18716 w 21600"/>
              <a:gd name="T79" fmla="*/ 3685 h 21600"/>
              <a:gd name="T80" fmla="*/ 17921 w 21600"/>
              <a:gd name="T81" fmla="*/ 3017 h 21600"/>
              <a:gd name="T82" fmla="*/ 21511 w 21600"/>
              <a:gd name="T83" fmla="*/ 21600 h 21600"/>
              <a:gd name="T84" fmla="*/ 19482 w 21600"/>
              <a:gd name="T85" fmla="*/ 19011 h 21600"/>
              <a:gd name="T86" fmla="*/ 21511 w 21600"/>
              <a:gd name="T87" fmla="*/ 2160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600" h="21600">
                <a:moveTo>
                  <a:pt x="1595" y="0"/>
                </a:moveTo>
                <a:cubicBezTo>
                  <a:pt x="2099" y="0"/>
                  <a:pt x="2568" y="481"/>
                  <a:pt x="2849" y="2083"/>
                </a:cubicBezTo>
                <a:cubicBezTo>
                  <a:pt x="3072" y="3338"/>
                  <a:pt x="3146" y="5074"/>
                  <a:pt x="3146" y="7129"/>
                </a:cubicBezTo>
                <a:cubicBezTo>
                  <a:pt x="3146" y="10386"/>
                  <a:pt x="2963" y="13484"/>
                  <a:pt x="2593" y="15539"/>
                </a:cubicBezTo>
                <a:cubicBezTo>
                  <a:pt x="2203" y="17702"/>
                  <a:pt x="1659" y="18263"/>
                  <a:pt x="1047" y="18263"/>
                </a:cubicBezTo>
                <a:lnTo>
                  <a:pt x="0" y="18263"/>
                </a:lnTo>
                <a:lnTo>
                  <a:pt x="593" y="0"/>
                </a:lnTo>
                <a:lnTo>
                  <a:pt x="1595" y="0"/>
                </a:lnTo>
                <a:close/>
                <a:moveTo>
                  <a:pt x="869" y="15219"/>
                </a:moveTo>
                <a:lnTo>
                  <a:pt x="1126" y="15219"/>
                </a:lnTo>
                <a:cubicBezTo>
                  <a:pt x="1546" y="15219"/>
                  <a:pt x="1822" y="14659"/>
                  <a:pt x="2039" y="12977"/>
                </a:cubicBezTo>
                <a:cubicBezTo>
                  <a:pt x="2217" y="11588"/>
                  <a:pt x="2351" y="9479"/>
                  <a:pt x="2351" y="7210"/>
                </a:cubicBezTo>
                <a:cubicBezTo>
                  <a:pt x="2351" y="5821"/>
                  <a:pt x="2301" y="4833"/>
                  <a:pt x="2188" y="4138"/>
                </a:cubicBezTo>
                <a:cubicBezTo>
                  <a:pt x="2069" y="3419"/>
                  <a:pt x="1881" y="3045"/>
                  <a:pt x="1575" y="3045"/>
                </a:cubicBezTo>
                <a:lnTo>
                  <a:pt x="1264" y="3045"/>
                </a:lnTo>
                <a:lnTo>
                  <a:pt x="869" y="15219"/>
                </a:lnTo>
                <a:close/>
                <a:moveTo>
                  <a:pt x="4380" y="10574"/>
                </a:moveTo>
                <a:lnTo>
                  <a:pt x="5541" y="10574"/>
                </a:lnTo>
                <a:lnTo>
                  <a:pt x="5644" y="7450"/>
                </a:lnTo>
                <a:lnTo>
                  <a:pt x="4484" y="7450"/>
                </a:lnTo>
                <a:lnTo>
                  <a:pt x="4627" y="3018"/>
                </a:lnTo>
                <a:lnTo>
                  <a:pt x="6079" y="3018"/>
                </a:lnTo>
                <a:lnTo>
                  <a:pt x="6237" y="1"/>
                </a:lnTo>
                <a:lnTo>
                  <a:pt x="3956" y="1"/>
                </a:lnTo>
                <a:lnTo>
                  <a:pt x="3363" y="18263"/>
                </a:lnTo>
                <a:lnTo>
                  <a:pt x="5669" y="18263"/>
                </a:lnTo>
                <a:lnTo>
                  <a:pt x="5763" y="15246"/>
                </a:lnTo>
                <a:lnTo>
                  <a:pt x="4232" y="15246"/>
                </a:lnTo>
                <a:lnTo>
                  <a:pt x="4380" y="10574"/>
                </a:lnTo>
                <a:close/>
                <a:moveTo>
                  <a:pt x="8514" y="18262"/>
                </a:moveTo>
                <a:lnTo>
                  <a:pt x="8607" y="15245"/>
                </a:lnTo>
                <a:lnTo>
                  <a:pt x="7111" y="15245"/>
                </a:lnTo>
                <a:lnTo>
                  <a:pt x="7610" y="0"/>
                </a:lnTo>
                <a:lnTo>
                  <a:pt x="6840" y="0"/>
                </a:lnTo>
                <a:lnTo>
                  <a:pt x="6247" y="18262"/>
                </a:lnTo>
                <a:lnTo>
                  <a:pt x="8514" y="18262"/>
                </a:lnTo>
                <a:close/>
                <a:moveTo>
                  <a:pt x="9022" y="18263"/>
                </a:moveTo>
                <a:lnTo>
                  <a:pt x="9793" y="18263"/>
                </a:lnTo>
                <a:lnTo>
                  <a:pt x="10385" y="0"/>
                </a:lnTo>
                <a:lnTo>
                  <a:pt x="9615" y="0"/>
                </a:lnTo>
                <a:lnTo>
                  <a:pt x="9022" y="18263"/>
                </a:lnTo>
                <a:close/>
                <a:moveTo>
                  <a:pt x="10830" y="0"/>
                </a:moveTo>
                <a:lnTo>
                  <a:pt x="11412" y="18263"/>
                </a:lnTo>
                <a:lnTo>
                  <a:pt x="12247" y="18263"/>
                </a:lnTo>
                <a:lnTo>
                  <a:pt x="13961" y="0"/>
                </a:lnTo>
                <a:lnTo>
                  <a:pt x="13170" y="0"/>
                </a:lnTo>
                <a:lnTo>
                  <a:pt x="11995" y="13457"/>
                </a:lnTo>
                <a:lnTo>
                  <a:pt x="11625" y="0"/>
                </a:lnTo>
                <a:lnTo>
                  <a:pt x="10830" y="0"/>
                </a:lnTo>
                <a:close/>
                <a:moveTo>
                  <a:pt x="14790" y="10574"/>
                </a:moveTo>
                <a:lnTo>
                  <a:pt x="15951" y="10574"/>
                </a:lnTo>
                <a:lnTo>
                  <a:pt x="16054" y="7450"/>
                </a:lnTo>
                <a:lnTo>
                  <a:pt x="14894" y="7450"/>
                </a:lnTo>
                <a:lnTo>
                  <a:pt x="15037" y="3018"/>
                </a:lnTo>
                <a:lnTo>
                  <a:pt x="16489" y="3018"/>
                </a:lnTo>
                <a:lnTo>
                  <a:pt x="16647" y="1"/>
                </a:lnTo>
                <a:lnTo>
                  <a:pt x="14365" y="1"/>
                </a:lnTo>
                <a:lnTo>
                  <a:pt x="13773" y="18263"/>
                </a:lnTo>
                <a:lnTo>
                  <a:pt x="16079" y="18263"/>
                </a:lnTo>
                <a:lnTo>
                  <a:pt x="16173" y="15246"/>
                </a:lnTo>
                <a:lnTo>
                  <a:pt x="14642" y="15246"/>
                </a:lnTo>
                <a:lnTo>
                  <a:pt x="14790" y="10574"/>
                </a:lnTo>
                <a:close/>
                <a:moveTo>
                  <a:pt x="19397" y="8597"/>
                </a:moveTo>
                <a:cubicBezTo>
                  <a:pt x="19269" y="9559"/>
                  <a:pt x="19062" y="10360"/>
                  <a:pt x="18790" y="10947"/>
                </a:cubicBezTo>
                <a:lnTo>
                  <a:pt x="19314" y="18262"/>
                </a:lnTo>
                <a:lnTo>
                  <a:pt x="18489" y="18262"/>
                </a:lnTo>
                <a:lnTo>
                  <a:pt x="18094" y="11641"/>
                </a:lnTo>
                <a:lnTo>
                  <a:pt x="17640" y="11641"/>
                </a:lnTo>
                <a:lnTo>
                  <a:pt x="17427" y="18262"/>
                </a:lnTo>
                <a:lnTo>
                  <a:pt x="16657" y="18262"/>
                </a:lnTo>
                <a:lnTo>
                  <a:pt x="17249" y="0"/>
                </a:lnTo>
                <a:lnTo>
                  <a:pt x="18400" y="0"/>
                </a:lnTo>
                <a:cubicBezTo>
                  <a:pt x="18820" y="0"/>
                  <a:pt x="19111" y="481"/>
                  <a:pt x="19294" y="1336"/>
                </a:cubicBezTo>
                <a:cubicBezTo>
                  <a:pt x="19496" y="2269"/>
                  <a:pt x="19580" y="3631"/>
                  <a:pt x="19580" y="5207"/>
                </a:cubicBezTo>
                <a:cubicBezTo>
                  <a:pt x="19580" y="6514"/>
                  <a:pt x="19521" y="7663"/>
                  <a:pt x="19397" y="8597"/>
                </a:cubicBezTo>
                <a:moveTo>
                  <a:pt x="17738" y="8624"/>
                </a:moveTo>
                <a:lnTo>
                  <a:pt x="18035" y="8624"/>
                </a:lnTo>
                <a:cubicBezTo>
                  <a:pt x="18272" y="8624"/>
                  <a:pt x="18484" y="8383"/>
                  <a:pt x="18627" y="7663"/>
                </a:cubicBezTo>
                <a:cubicBezTo>
                  <a:pt x="18741" y="7103"/>
                  <a:pt x="18815" y="6195"/>
                  <a:pt x="18815" y="5233"/>
                </a:cubicBezTo>
                <a:cubicBezTo>
                  <a:pt x="18815" y="4619"/>
                  <a:pt x="18785" y="4059"/>
                  <a:pt x="18716" y="3685"/>
                </a:cubicBezTo>
                <a:cubicBezTo>
                  <a:pt x="18637" y="3258"/>
                  <a:pt x="18514" y="3017"/>
                  <a:pt x="18306" y="3017"/>
                </a:cubicBezTo>
                <a:lnTo>
                  <a:pt x="17921" y="3017"/>
                </a:lnTo>
                <a:lnTo>
                  <a:pt x="17738" y="8624"/>
                </a:lnTo>
                <a:close/>
                <a:moveTo>
                  <a:pt x="21511" y="21600"/>
                </a:moveTo>
                <a:lnTo>
                  <a:pt x="21600" y="19011"/>
                </a:lnTo>
                <a:lnTo>
                  <a:pt x="19482" y="19011"/>
                </a:lnTo>
                <a:lnTo>
                  <a:pt x="19393" y="21600"/>
                </a:lnTo>
                <a:lnTo>
                  <a:pt x="21511" y="21600"/>
                </a:lnTo>
                <a:close/>
                <a:moveTo>
                  <a:pt x="21511" y="21600"/>
                </a:moveTo>
              </a:path>
            </a:pathLst>
          </a:custGeom>
          <a:solidFill>
            <a:schemeClr val="accent1">
              <a:alpha val="60000"/>
            </a:schemeClr>
          </a:solidFill>
          <a:ln>
            <a:noFill/>
          </a:ln>
        </p:spPr>
        <p:txBody>
          <a:bodyPr lIns="0" tIns="0" rIns="0" bIns="0"/>
          <a:lstStyle/>
          <a:p>
            <a:endParaRPr lang="es-ES">
              <a:solidFill>
                <a:srgbClr val="003245"/>
              </a:solidFill>
            </a:endParaRPr>
          </a:p>
        </p:txBody>
      </p:sp>
      <p:grpSp>
        <p:nvGrpSpPr>
          <p:cNvPr id="15" name="Grupo 14"/>
          <p:cNvGrpSpPr/>
          <p:nvPr userDrawn="1"/>
        </p:nvGrpSpPr>
        <p:grpSpPr>
          <a:xfrm>
            <a:off x="58864" y="6464175"/>
            <a:ext cx="2103461" cy="359735"/>
            <a:chOff x="58864" y="6464175"/>
            <a:chExt cx="2103461" cy="359735"/>
          </a:xfrm>
        </p:grpSpPr>
        <p:grpSp>
          <p:nvGrpSpPr>
            <p:cNvPr id="22" name="Group 4"/>
            <p:cNvGrpSpPr>
              <a:grpSpLocks/>
            </p:cNvGrpSpPr>
            <p:nvPr userDrawn="1"/>
          </p:nvGrpSpPr>
          <p:grpSpPr bwMode="auto">
            <a:xfrm>
              <a:off x="179512" y="6464175"/>
              <a:ext cx="888250" cy="136799"/>
              <a:chOff x="-14" y="12"/>
              <a:chExt cx="605" cy="99"/>
            </a:xfrm>
          </p:grpSpPr>
          <p:sp>
            <p:nvSpPr>
              <p:cNvPr id="24" name="AutoShape 2"/>
              <p:cNvSpPr>
                <a:spLocks/>
              </p:cNvSpPr>
              <p:nvPr/>
            </p:nvSpPr>
            <p:spPr bwMode="auto">
              <a:xfrm>
                <a:off x="-14" y="12"/>
                <a:ext cx="546"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2236" y="9904"/>
                    </a:moveTo>
                    <a:cubicBezTo>
                      <a:pt x="2490" y="10359"/>
                      <a:pt x="2636" y="10997"/>
                      <a:pt x="2734" y="11787"/>
                    </a:cubicBezTo>
                    <a:cubicBezTo>
                      <a:pt x="2833" y="12577"/>
                      <a:pt x="2864" y="13428"/>
                      <a:pt x="2864" y="14460"/>
                    </a:cubicBezTo>
                    <a:cubicBezTo>
                      <a:pt x="2864" y="16952"/>
                      <a:pt x="2688" y="18501"/>
                      <a:pt x="2444" y="19473"/>
                    </a:cubicBezTo>
                    <a:cubicBezTo>
                      <a:pt x="2174" y="20567"/>
                      <a:pt x="1764" y="21175"/>
                      <a:pt x="1105" y="21175"/>
                    </a:cubicBezTo>
                    <a:lnTo>
                      <a:pt x="0" y="21175"/>
                    </a:lnTo>
                    <a:lnTo>
                      <a:pt x="623" y="395"/>
                    </a:lnTo>
                    <a:lnTo>
                      <a:pt x="1717" y="395"/>
                    </a:lnTo>
                    <a:cubicBezTo>
                      <a:pt x="2226" y="395"/>
                      <a:pt x="2480" y="942"/>
                      <a:pt x="2636" y="1671"/>
                    </a:cubicBezTo>
                    <a:cubicBezTo>
                      <a:pt x="2823" y="2552"/>
                      <a:pt x="2885" y="3797"/>
                      <a:pt x="2885" y="4982"/>
                    </a:cubicBezTo>
                    <a:cubicBezTo>
                      <a:pt x="2885" y="7017"/>
                      <a:pt x="2703" y="8871"/>
                      <a:pt x="2236" y="9904"/>
                    </a:cubicBezTo>
                    <a:close/>
                    <a:moveTo>
                      <a:pt x="908" y="17742"/>
                    </a:moveTo>
                    <a:lnTo>
                      <a:pt x="1188" y="17742"/>
                    </a:lnTo>
                    <a:cubicBezTo>
                      <a:pt x="1484" y="17742"/>
                      <a:pt x="1645" y="17529"/>
                      <a:pt x="1775" y="17134"/>
                    </a:cubicBezTo>
                    <a:cubicBezTo>
                      <a:pt x="1920" y="16679"/>
                      <a:pt x="2039" y="15919"/>
                      <a:pt x="2039" y="14643"/>
                    </a:cubicBezTo>
                    <a:cubicBezTo>
                      <a:pt x="2039" y="13792"/>
                      <a:pt x="1987" y="13155"/>
                      <a:pt x="1899" y="12760"/>
                    </a:cubicBezTo>
                    <a:cubicBezTo>
                      <a:pt x="1800" y="12304"/>
                      <a:pt x="1650" y="12091"/>
                      <a:pt x="1437" y="12091"/>
                    </a:cubicBezTo>
                    <a:lnTo>
                      <a:pt x="1079" y="12091"/>
                    </a:lnTo>
                    <a:lnTo>
                      <a:pt x="908" y="17742"/>
                    </a:lnTo>
                    <a:close/>
                    <a:moveTo>
                      <a:pt x="1183" y="8658"/>
                    </a:moveTo>
                    <a:lnTo>
                      <a:pt x="1365" y="8658"/>
                    </a:lnTo>
                    <a:cubicBezTo>
                      <a:pt x="1645" y="8658"/>
                      <a:pt x="1800" y="8324"/>
                      <a:pt x="1909" y="7838"/>
                    </a:cubicBezTo>
                    <a:cubicBezTo>
                      <a:pt x="2018" y="7352"/>
                      <a:pt x="2081" y="6623"/>
                      <a:pt x="2081" y="5742"/>
                    </a:cubicBezTo>
                    <a:cubicBezTo>
                      <a:pt x="2081" y="5134"/>
                      <a:pt x="2055" y="4739"/>
                      <a:pt x="1998" y="4405"/>
                    </a:cubicBezTo>
                    <a:cubicBezTo>
                      <a:pt x="1935" y="4071"/>
                      <a:pt x="1831" y="3828"/>
                      <a:pt x="1603" y="3828"/>
                    </a:cubicBezTo>
                    <a:lnTo>
                      <a:pt x="1328" y="3828"/>
                    </a:lnTo>
                    <a:lnTo>
                      <a:pt x="1183" y="8658"/>
                    </a:lnTo>
                    <a:close/>
                    <a:moveTo>
                      <a:pt x="4140" y="17742"/>
                    </a:moveTo>
                    <a:lnTo>
                      <a:pt x="5749" y="17742"/>
                    </a:lnTo>
                    <a:lnTo>
                      <a:pt x="5650" y="21175"/>
                    </a:lnTo>
                    <a:lnTo>
                      <a:pt x="3227" y="21175"/>
                    </a:lnTo>
                    <a:lnTo>
                      <a:pt x="3850" y="395"/>
                    </a:lnTo>
                    <a:lnTo>
                      <a:pt x="6247" y="395"/>
                    </a:lnTo>
                    <a:lnTo>
                      <a:pt x="6081" y="3828"/>
                    </a:lnTo>
                    <a:lnTo>
                      <a:pt x="4556" y="3828"/>
                    </a:lnTo>
                    <a:lnTo>
                      <a:pt x="4405" y="8871"/>
                    </a:lnTo>
                    <a:lnTo>
                      <a:pt x="5624" y="8871"/>
                    </a:lnTo>
                    <a:lnTo>
                      <a:pt x="5515" y="12425"/>
                    </a:lnTo>
                    <a:lnTo>
                      <a:pt x="4296" y="12425"/>
                    </a:lnTo>
                    <a:lnTo>
                      <a:pt x="4140" y="17742"/>
                    </a:lnTo>
                    <a:close/>
                    <a:moveTo>
                      <a:pt x="8540" y="395"/>
                    </a:moveTo>
                    <a:lnTo>
                      <a:pt x="9298" y="11878"/>
                    </a:lnTo>
                    <a:lnTo>
                      <a:pt x="10792" y="395"/>
                    </a:lnTo>
                    <a:lnTo>
                      <a:pt x="11456" y="395"/>
                    </a:lnTo>
                    <a:lnTo>
                      <a:pt x="10834" y="21175"/>
                    </a:lnTo>
                    <a:lnTo>
                      <a:pt x="10092" y="21175"/>
                    </a:lnTo>
                    <a:lnTo>
                      <a:pt x="10450" y="9053"/>
                    </a:lnTo>
                    <a:lnTo>
                      <a:pt x="9495" y="16436"/>
                    </a:lnTo>
                    <a:lnTo>
                      <a:pt x="8872" y="16436"/>
                    </a:lnTo>
                    <a:lnTo>
                      <a:pt x="8354" y="8658"/>
                    </a:lnTo>
                    <a:lnTo>
                      <a:pt x="7975" y="21175"/>
                    </a:lnTo>
                    <a:lnTo>
                      <a:pt x="7295" y="21175"/>
                    </a:lnTo>
                    <a:lnTo>
                      <a:pt x="7918" y="395"/>
                    </a:lnTo>
                    <a:lnTo>
                      <a:pt x="8540" y="395"/>
                    </a:lnTo>
                    <a:close/>
                    <a:moveTo>
                      <a:pt x="11685" y="13640"/>
                    </a:moveTo>
                    <a:cubicBezTo>
                      <a:pt x="11685" y="10451"/>
                      <a:pt x="11820" y="7321"/>
                      <a:pt x="12058" y="4921"/>
                    </a:cubicBezTo>
                    <a:cubicBezTo>
                      <a:pt x="12380" y="1701"/>
                      <a:pt x="12893" y="0"/>
                      <a:pt x="13610" y="0"/>
                    </a:cubicBezTo>
                    <a:cubicBezTo>
                      <a:pt x="14429" y="0"/>
                      <a:pt x="14990" y="2521"/>
                      <a:pt x="14990" y="7959"/>
                    </a:cubicBezTo>
                    <a:cubicBezTo>
                      <a:pt x="14990" y="11149"/>
                      <a:pt x="14855" y="14278"/>
                      <a:pt x="14616" y="16678"/>
                    </a:cubicBezTo>
                    <a:cubicBezTo>
                      <a:pt x="14295" y="19899"/>
                      <a:pt x="13781" y="21600"/>
                      <a:pt x="13065" y="21600"/>
                    </a:cubicBezTo>
                    <a:cubicBezTo>
                      <a:pt x="12245" y="21600"/>
                      <a:pt x="11685" y="19078"/>
                      <a:pt x="11685" y="13640"/>
                    </a:cubicBezTo>
                    <a:close/>
                    <a:moveTo>
                      <a:pt x="12790" y="6775"/>
                    </a:moveTo>
                    <a:cubicBezTo>
                      <a:pt x="12619" y="8688"/>
                      <a:pt x="12520" y="11180"/>
                      <a:pt x="12520" y="13640"/>
                    </a:cubicBezTo>
                    <a:cubicBezTo>
                      <a:pt x="12520" y="16770"/>
                      <a:pt x="12764" y="17894"/>
                      <a:pt x="13127" y="17894"/>
                    </a:cubicBezTo>
                    <a:cubicBezTo>
                      <a:pt x="13469" y="17894"/>
                      <a:pt x="13713" y="16709"/>
                      <a:pt x="13885" y="14825"/>
                    </a:cubicBezTo>
                    <a:cubicBezTo>
                      <a:pt x="14056" y="12912"/>
                      <a:pt x="14154" y="10420"/>
                      <a:pt x="14154" y="7960"/>
                    </a:cubicBezTo>
                    <a:cubicBezTo>
                      <a:pt x="14154" y="4830"/>
                      <a:pt x="13911" y="3706"/>
                      <a:pt x="13547" y="3706"/>
                    </a:cubicBezTo>
                    <a:cubicBezTo>
                      <a:pt x="13205" y="3706"/>
                      <a:pt x="12961" y="4891"/>
                      <a:pt x="12790" y="6775"/>
                    </a:cubicBezTo>
                    <a:close/>
                    <a:moveTo>
                      <a:pt x="18098" y="10177"/>
                    </a:moveTo>
                    <a:cubicBezTo>
                      <a:pt x="17963" y="11271"/>
                      <a:pt x="17745" y="12182"/>
                      <a:pt x="17459" y="12851"/>
                    </a:cubicBezTo>
                    <a:lnTo>
                      <a:pt x="18009" y="21175"/>
                    </a:lnTo>
                    <a:lnTo>
                      <a:pt x="17143" y="21175"/>
                    </a:lnTo>
                    <a:lnTo>
                      <a:pt x="16728" y="13641"/>
                    </a:lnTo>
                    <a:lnTo>
                      <a:pt x="16251" y="13641"/>
                    </a:lnTo>
                    <a:lnTo>
                      <a:pt x="16027" y="21175"/>
                    </a:lnTo>
                    <a:lnTo>
                      <a:pt x="15218" y="21175"/>
                    </a:lnTo>
                    <a:lnTo>
                      <a:pt x="15841" y="395"/>
                    </a:lnTo>
                    <a:lnTo>
                      <a:pt x="17050" y="395"/>
                    </a:lnTo>
                    <a:cubicBezTo>
                      <a:pt x="17491" y="395"/>
                      <a:pt x="17797" y="942"/>
                      <a:pt x="17989" y="1914"/>
                    </a:cubicBezTo>
                    <a:cubicBezTo>
                      <a:pt x="18202" y="2977"/>
                      <a:pt x="18290" y="4526"/>
                      <a:pt x="18290" y="6319"/>
                    </a:cubicBezTo>
                    <a:cubicBezTo>
                      <a:pt x="18290" y="7807"/>
                      <a:pt x="18227" y="9114"/>
                      <a:pt x="18098" y="10177"/>
                    </a:cubicBezTo>
                    <a:close/>
                    <a:moveTo>
                      <a:pt x="16354" y="10208"/>
                    </a:moveTo>
                    <a:lnTo>
                      <a:pt x="16666" y="10208"/>
                    </a:lnTo>
                    <a:cubicBezTo>
                      <a:pt x="16915" y="10208"/>
                      <a:pt x="17138" y="9934"/>
                      <a:pt x="17288" y="9114"/>
                    </a:cubicBezTo>
                    <a:cubicBezTo>
                      <a:pt x="17408" y="8476"/>
                      <a:pt x="17486" y="7443"/>
                      <a:pt x="17486" y="6349"/>
                    </a:cubicBezTo>
                    <a:cubicBezTo>
                      <a:pt x="17486" y="5651"/>
                      <a:pt x="17454" y="5012"/>
                      <a:pt x="17382" y="4587"/>
                    </a:cubicBezTo>
                    <a:cubicBezTo>
                      <a:pt x="17299" y="4101"/>
                      <a:pt x="17169" y="3828"/>
                      <a:pt x="16951" y="3828"/>
                    </a:cubicBezTo>
                    <a:lnTo>
                      <a:pt x="16546" y="3828"/>
                    </a:lnTo>
                    <a:lnTo>
                      <a:pt x="16354" y="10208"/>
                    </a:lnTo>
                    <a:close/>
                    <a:moveTo>
                      <a:pt x="19493" y="17742"/>
                    </a:moveTo>
                    <a:lnTo>
                      <a:pt x="21102" y="17742"/>
                    </a:lnTo>
                    <a:lnTo>
                      <a:pt x="21003" y="21175"/>
                    </a:lnTo>
                    <a:lnTo>
                      <a:pt x="18580" y="21175"/>
                    </a:lnTo>
                    <a:lnTo>
                      <a:pt x="19203" y="395"/>
                    </a:lnTo>
                    <a:lnTo>
                      <a:pt x="21600" y="395"/>
                    </a:lnTo>
                    <a:lnTo>
                      <a:pt x="21434" y="3828"/>
                    </a:lnTo>
                    <a:lnTo>
                      <a:pt x="19909" y="3828"/>
                    </a:lnTo>
                    <a:lnTo>
                      <a:pt x="19758" y="8871"/>
                    </a:lnTo>
                    <a:lnTo>
                      <a:pt x="20977" y="8871"/>
                    </a:lnTo>
                    <a:lnTo>
                      <a:pt x="20868" y="12425"/>
                    </a:lnTo>
                    <a:lnTo>
                      <a:pt x="19649" y="12425"/>
                    </a:lnTo>
                    <a:lnTo>
                      <a:pt x="19493" y="17742"/>
                    </a:lnTo>
                    <a:close/>
                    <a:moveTo>
                      <a:pt x="19493" y="17742"/>
                    </a:moveTo>
                  </a:path>
                </a:pathLst>
              </a:custGeom>
              <a:solidFill>
                <a:schemeClr val="accent1"/>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solidFill>
                    <a:srgbClr val="003245"/>
                  </a:solidFill>
                </a:endParaRPr>
              </a:p>
            </p:txBody>
          </p:sp>
          <p:sp>
            <p:nvSpPr>
              <p:cNvPr id="25" name="AutoShape 3"/>
              <p:cNvSpPr>
                <a:spLocks/>
              </p:cNvSpPr>
              <p:nvPr/>
            </p:nvSpPr>
            <p:spPr bwMode="auto">
              <a:xfrm>
                <a:off x="533" y="98"/>
                <a:ext cx="58" cy="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21600"/>
                    </a:moveTo>
                    <a:lnTo>
                      <a:pt x="870" y="0"/>
                    </a:lnTo>
                    <a:lnTo>
                      <a:pt x="21600" y="0"/>
                    </a:lnTo>
                    <a:lnTo>
                      <a:pt x="20730" y="21600"/>
                    </a:lnTo>
                    <a:lnTo>
                      <a:pt x="0" y="21600"/>
                    </a:lnTo>
                    <a:close/>
                    <a:moveTo>
                      <a:pt x="0" y="21600"/>
                    </a:moveTo>
                  </a:path>
                </a:pathLst>
              </a:custGeom>
              <a:solidFill>
                <a:srgbClr val="7DFE9D"/>
              </a:solidFill>
              <a:ln>
                <a:noFill/>
              </a:ln>
              <a:extLst>
                <a:ext uri="{91240B29-F687-4F45-9708-019B960494DF}">
                  <a14:hiddenLine xmlns:a14="http://schemas.microsoft.com/office/drawing/2010/main" w="25400" cap="flat">
                    <a:solidFill>
                      <a:srgbClr val="000000"/>
                    </a:solidFill>
                    <a:miter lim="800000"/>
                    <a:headEnd type="none" w="med" len="med"/>
                    <a:tailEnd type="none" w="med" len="med"/>
                  </a14:hiddenLine>
                </a:ext>
              </a:extLst>
            </p:spPr>
            <p:txBody>
              <a:bodyPr lIns="0" tIns="0" rIns="0" bIns="0"/>
              <a:lstStyle/>
              <a:p>
                <a:endParaRPr lang="en-GB">
                  <a:solidFill>
                    <a:srgbClr val="003245"/>
                  </a:solidFill>
                </a:endParaRPr>
              </a:p>
            </p:txBody>
          </p:sp>
        </p:grpSp>
        <p:sp>
          <p:nvSpPr>
            <p:cNvPr id="23" name="22 CuadroTexto"/>
            <p:cNvSpPr txBox="1"/>
            <p:nvPr userDrawn="1"/>
          </p:nvSpPr>
          <p:spPr>
            <a:xfrm>
              <a:off x="58864" y="6577689"/>
              <a:ext cx="2103461" cy="246221"/>
            </a:xfrm>
            <a:prstGeom prst="rect">
              <a:avLst/>
            </a:prstGeom>
            <a:noFill/>
          </p:spPr>
          <p:txBody>
            <a:bodyPr wrap="none" rtlCol="0">
              <a:spAutoFit/>
            </a:bodyPr>
            <a:lstStyle/>
            <a:p>
              <a:r>
                <a:rPr lang="en-US" sz="1000" i="1" dirty="0" smtClean="0">
                  <a:solidFill>
                    <a:srgbClr val="4BACC6">
                      <a:lumMod val="75000"/>
                    </a:srgbClr>
                  </a:solidFill>
                  <a:latin typeface="Arial" panose="020B0604020202020204" pitchFamily="34" charset="0"/>
                  <a:cs typeface="Arial" panose="020B0604020202020204" pitchFamily="34" charset="0"/>
                </a:rPr>
                <a:t>DISCOVER, DISRUPT, DELIVER</a:t>
              </a:r>
              <a:endParaRPr lang="en-US" sz="1000" i="1" dirty="0">
                <a:solidFill>
                  <a:srgbClr val="4BACC6">
                    <a:lumMod val="75000"/>
                  </a:srgb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244725326"/>
      </p:ext>
    </p:extLst>
  </p:cSld>
  <p:clrMap bg1="lt1" tx1="dk1" bg2="lt2" tx2="dk2" accent1="accent1" accent2="accent2" accent3="accent3" accent4="accent4" accent5="accent5" accent6="accent6" hlink="hlink" folHlink="folHlink"/>
  <p:sldLayoutIdLst>
    <p:sldLayoutId id="2147483793" r:id="rId1"/>
    <p:sldLayoutId id="2147483794" r:id="rId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2800">
          <a:solidFill>
            <a:srgbClr val="17B4C6"/>
          </a:solidFill>
          <a:latin typeface="+mj-lt"/>
          <a:ea typeface="+mj-ea"/>
          <a:cs typeface="+mj-cs"/>
          <a:sym typeface="Gill Sans" pitchFamily="122"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pitchFamily="122"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1pPr>
      <a:lvl2pPr marL="1333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2pPr>
      <a:lvl3pPr marL="1778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3pPr>
      <a:lvl4pPr marL="22225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4pPr>
      <a:lvl5pPr marL="2667000" indent="-571500" algn="l" rtl="0" eaLnBrk="0" fontAlgn="base" hangingPunct="0">
        <a:spcBef>
          <a:spcPts val="3400"/>
        </a:spcBef>
        <a:spcAft>
          <a:spcPct val="0"/>
        </a:spcAft>
        <a:buSzPct val="171000"/>
        <a:buFont typeface="Gill Sans" pitchFamily="122" charset="0"/>
        <a:buChar char="•"/>
        <a:defRPr sz="2800">
          <a:solidFill>
            <a:schemeClr val="tx1"/>
          </a:solidFill>
          <a:latin typeface="+mn-lt"/>
          <a:ea typeface="+mn-ea"/>
          <a:cs typeface="+mn-cs"/>
          <a:sym typeface="Gill Sans" pitchFamily="122" charset="0"/>
        </a:defRPr>
      </a:lvl5pPr>
      <a:lvl6pPr marL="31242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6pPr>
      <a:lvl7pPr marL="35814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7pPr>
      <a:lvl8pPr marL="40386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8pPr>
      <a:lvl9pPr marL="4495800" indent="-571500" algn="l" rtl="0" fontAlgn="base">
        <a:spcBef>
          <a:spcPts val="3400"/>
        </a:spcBef>
        <a:spcAft>
          <a:spcPct val="0"/>
        </a:spcAft>
        <a:buSzPct val="171000"/>
        <a:buFont typeface="Gill Sans" charset="0"/>
        <a:buChar char="•"/>
        <a:defRPr sz="28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15888"/>
            <a:ext cx="82296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ES" altLang="es-ES" smtClean="0"/>
              <a:t>Haga clic para cambiar el estilo de título	</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s-ES" altLang="es-ES" smtClean="0"/>
              <a:t>Haga clic para modificar el estilo de texto del patrón</a:t>
            </a:r>
          </a:p>
          <a:p>
            <a:pPr lvl="1"/>
            <a:r>
              <a:rPr lang="es-ES" altLang="es-ES" smtClean="0"/>
              <a:t>Segundo nivel</a:t>
            </a:r>
          </a:p>
          <a:p>
            <a:pPr lvl="2"/>
            <a:r>
              <a:rPr lang="es-ES" altLang="es-ES" smtClean="0"/>
              <a:t>Tercer nivel</a:t>
            </a:r>
          </a:p>
        </p:txBody>
      </p:sp>
      <p:sp>
        <p:nvSpPr>
          <p:cNvPr id="1028" name="AutoShape 10"/>
          <p:cNvSpPr>
            <a:spLocks/>
          </p:cNvSpPr>
          <p:nvPr userDrawn="1"/>
        </p:nvSpPr>
        <p:spPr bwMode="auto">
          <a:xfrm>
            <a:off x="4343400" y="6400800"/>
            <a:ext cx="457200" cy="254000"/>
          </a:xfrm>
          <a:prstGeom prst="roundRect">
            <a:avLst>
              <a:gd name="adj" fmla="val 50000"/>
            </a:avLst>
          </a:prstGeom>
          <a:noFill/>
          <a:ln w="19050" cap="rnd">
            <a:solidFill>
              <a:srgbClr val="44B5CA"/>
            </a:solidFill>
            <a:prstDash val="sysDot"/>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ctr" eaLnBrk="1" fontAlgn="base" hangingPunct="1">
              <a:spcBef>
                <a:spcPct val="0"/>
              </a:spcBef>
              <a:spcAft>
                <a:spcPct val="0"/>
              </a:spcAft>
            </a:pPr>
            <a:endParaRPr lang="es-ES" altLang="es-ES" smtClean="0">
              <a:latin typeface="Gill Sans" charset="0"/>
            </a:endParaRPr>
          </a:p>
        </p:txBody>
      </p:sp>
      <p:sp>
        <p:nvSpPr>
          <p:cNvPr id="1029" name="Rectangle 3"/>
          <p:cNvSpPr>
            <a:spLocks/>
          </p:cNvSpPr>
          <p:nvPr userDrawn="1"/>
        </p:nvSpPr>
        <p:spPr bwMode="auto">
          <a:xfrm>
            <a:off x="4449763" y="6445250"/>
            <a:ext cx="2444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ctr" eaLnBrk="1" fontAlgn="base" hangingPunct="1">
              <a:spcBef>
                <a:spcPct val="0"/>
              </a:spcBef>
              <a:spcAft>
                <a:spcPct val="0"/>
              </a:spcAft>
            </a:pPr>
            <a:fld id="{820DA1D0-4ACB-423B-9F62-61F8A476C472}" type="slidenum">
              <a:rPr lang="en-US" altLang="es-ES" sz="1100" smtClean="0">
                <a:solidFill>
                  <a:srgbClr val="003F52"/>
                </a:solidFill>
                <a:ea typeface="MS PGothic" pitchFamily="34" charset="-128"/>
                <a:sym typeface="Arial" pitchFamily="34" charset="0"/>
              </a:rPr>
              <a:pPr algn="ctr" eaLnBrk="1" fontAlgn="base" hangingPunct="1">
                <a:spcBef>
                  <a:spcPct val="0"/>
                </a:spcBef>
                <a:spcAft>
                  <a:spcPct val="0"/>
                </a:spcAft>
              </a:pPr>
              <a:t>‹#›</a:t>
            </a:fld>
            <a:endParaRPr lang="en-US" altLang="es-ES" sz="1100" smtClean="0">
              <a:solidFill>
                <a:srgbClr val="003F52"/>
              </a:solidFill>
              <a:ea typeface="MS PGothic" pitchFamily="34" charset="-128"/>
              <a:sym typeface="Arial" pitchFamily="34" charset="0"/>
            </a:endParaRPr>
          </a:p>
        </p:txBody>
      </p:sp>
      <p:pic>
        <p:nvPicPr>
          <p:cNvPr id="1030"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962900" y="6399213"/>
            <a:ext cx="1016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031" name="Rectangle 12"/>
          <p:cNvSpPr>
            <a:spLocks/>
          </p:cNvSpPr>
          <p:nvPr userDrawn="1"/>
        </p:nvSpPr>
        <p:spPr bwMode="auto">
          <a:xfrm>
            <a:off x="128588" y="6370638"/>
            <a:ext cx="33258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eaLnBrk="1" fontAlgn="base" hangingPunct="1">
              <a:spcBef>
                <a:spcPct val="0"/>
              </a:spcBef>
              <a:spcAft>
                <a:spcPct val="0"/>
              </a:spcAft>
            </a:pPr>
            <a:r>
              <a:rPr lang="en-US" altLang="es-ES" sz="1100" smtClean="0">
                <a:solidFill>
                  <a:srgbClr val="162E3E"/>
                </a:solidFill>
                <a:latin typeface="Arial Bold" charset="0"/>
                <a:ea typeface="MS PGothic" pitchFamily="34" charset="-128"/>
                <a:sym typeface="Arial Bold" charset="0"/>
              </a:rPr>
              <a:t>Oficina de Cambio Climático y Eficiencia Energética</a:t>
            </a:r>
          </a:p>
          <a:p>
            <a:pPr eaLnBrk="1" fontAlgn="base" hangingPunct="1">
              <a:spcBef>
                <a:spcPct val="0"/>
              </a:spcBef>
              <a:spcAft>
                <a:spcPct val="0"/>
              </a:spcAft>
            </a:pPr>
            <a:r>
              <a:rPr lang="en-US" altLang="es-ES" sz="1100" smtClean="0">
                <a:solidFill>
                  <a:srgbClr val="162E3E"/>
                </a:solidFill>
                <a:latin typeface="Arial Bold" charset="0"/>
                <a:ea typeface="MS PGothic" pitchFamily="34" charset="-128"/>
                <a:sym typeface="Arial Bold" charset="0"/>
              </a:rPr>
              <a:t>Telefónica S.A</a:t>
            </a:r>
          </a:p>
        </p:txBody>
      </p:sp>
      <p:pic>
        <p:nvPicPr>
          <p:cNvPr id="1032"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9700" y="6197600"/>
            <a:ext cx="8763000" cy="3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033" name="Rectangle 1"/>
          <p:cNvSpPr>
            <a:spLocks/>
          </p:cNvSpPr>
          <p:nvPr userDrawn="1"/>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eaLnBrk="0" hangingPunct="0">
              <a:defRPr sz="2800">
                <a:solidFill>
                  <a:srgbClr val="000000"/>
                </a:solidFill>
                <a:latin typeface="Arial" pitchFamily="34" charset="0"/>
                <a:ea typeface="ヒラギノ角ゴ ProN W3" charset="-128"/>
                <a:sym typeface="Gill Sans" charset="0"/>
              </a:defRPr>
            </a:lvl1pPr>
            <a:lvl2pPr marL="742950" indent="-285750" eaLnBrk="0" hangingPunct="0">
              <a:defRPr sz="2800">
                <a:solidFill>
                  <a:srgbClr val="000000"/>
                </a:solidFill>
                <a:latin typeface="Arial" pitchFamily="34" charset="0"/>
                <a:ea typeface="ヒラギノ角ゴ ProN W3" charset="-128"/>
                <a:sym typeface="Gill Sans" charset="0"/>
              </a:defRPr>
            </a:lvl2pPr>
            <a:lvl3pPr marL="1143000" indent="-228600" eaLnBrk="0" hangingPunct="0">
              <a:defRPr sz="2800">
                <a:solidFill>
                  <a:srgbClr val="000000"/>
                </a:solidFill>
                <a:latin typeface="Arial" pitchFamily="34" charset="0"/>
                <a:ea typeface="ヒラギノ角ゴ ProN W3" charset="-128"/>
                <a:sym typeface="Gill Sans" charset="0"/>
              </a:defRPr>
            </a:lvl3pPr>
            <a:lvl4pPr marL="1600200" indent="-228600" eaLnBrk="0" hangingPunct="0">
              <a:defRPr sz="2800">
                <a:solidFill>
                  <a:srgbClr val="000000"/>
                </a:solidFill>
                <a:latin typeface="Arial" pitchFamily="34" charset="0"/>
                <a:ea typeface="ヒラギノ角ゴ ProN W3" charset="-128"/>
                <a:sym typeface="Gill Sans" charset="0"/>
              </a:defRPr>
            </a:lvl4pPr>
            <a:lvl5pPr marL="2057400" indent="-228600" eaLnBrk="0" hangingPunct="0">
              <a:defRPr sz="2800">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charset="0"/>
              </a:defRPr>
            </a:lvl9pPr>
          </a:lstStyle>
          <a:p>
            <a:pPr algn="ctr" eaLnBrk="1" fontAlgn="base" hangingPunct="1">
              <a:spcBef>
                <a:spcPct val="0"/>
              </a:spcBef>
              <a:spcAft>
                <a:spcPct val="0"/>
              </a:spcAft>
            </a:pPr>
            <a:endParaRPr lang="es-ES" altLang="es-ES" smtClean="0">
              <a:cs typeface="Arial" pitchFamily="34" charset="0"/>
            </a:endParaRPr>
          </a:p>
        </p:txBody>
      </p:sp>
    </p:spTree>
    <p:extLst>
      <p:ext uri="{BB962C8B-B14F-4D97-AF65-F5344CB8AC3E}">
        <p14:creationId xmlns:p14="http://schemas.microsoft.com/office/powerpoint/2010/main" val="2124357720"/>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Lst>
  <p:timing>
    <p:tnLst>
      <p:par>
        <p:cTn id="1" dur="indefinite" restart="never" nodeType="tmRoot"/>
      </p:par>
    </p:tnLst>
  </p:timing>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7200" algn="l" rtl="0" fontAlgn="base">
        <a:spcBef>
          <a:spcPct val="0"/>
        </a:spcBef>
        <a:spcAft>
          <a:spcPct val="0"/>
        </a:spcAft>
        <a:defRPr sz="2800">
          <a:solidFill>
            <a:schemeClr val="tx2"/>
          </a:solidFill>
          <a:latin typeface="Arial" pitchFamily="34" charset="0"/>
        </a:defRPr>
      </a:lvl6pPr>
      <a:lvl7pPr marL="914400" algn="l" rtl="0" fontAlgn="base">
        <a:spcBef>
          <a:spcPct val="0"/>
        </a:spcBef>
        <a:spcAft>
          <a:spcPct val="0"/>
        </a:spcAft>
        <a:defRPr sz="2800">
          <a:solidFill>
            <a:schemeClr val="tx2"/>
          </a:solidFill>
          <a:latin typeface="Arial" pitchFamily="34" charset="0"/>
        </a:defRPr>
      </a:lvl7pPr>
      <a:lvl8pPr marL="1371600" algn="l" rtl="0" fontAlgn="base">
        <a:spcBef>
          <a:spcPct val="0"/>
        </a:spcBef>
        <a:spcAft>
          <a:spcPct val="0"/>
        </a:spcAft>
        <a:defRPr sz="2800">
          <a:solidFill>
            <a:schemeClr val="tx2"/>
          </a:solidFill>
          <a:latin typeface="Arial" pitchFamily="34" charset="0"/>
        </a:defRPr>
      </a:lvl8pPr>
      <a:lvl9pPr marL="1828800" algn="l" rtl="0" fontAlgn="base">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rgbClr val="255C81"/>
          </a:solidFill>
          <a:latin typeface="+mn-lt"/>
        </a:defRPr>
      </a:lvl4pPr>
      <a:lvl5pPr marL="2057400" indent="-228600" algn="l" rtl="0" eaLnBrk="0" fontAlgn="base" hangingPunct="0">
        <a:spcBef>
          <a:spcPct val="20000"/>
        </a:spcBef>
        <a:spcAft>
          <a:spcPct val="0"/>
        </a:spcAft>
        <a:buChar char="»"/>
        <a:defRPr sz="2000">
          <a:solidFill>
            <a:srgbClr val="255C81"/>
          </a:solidFill>
          <a:latin typeface="+mn-lt"/>
        </a:defRPr>
      </a:lvl5pPr>
      <a:lvl6pPr marL="2514600" indent="-228600" algn="l" rtl="0" fontAlgn="base">
        <a:spcBef>
          <a:spcPct val="20000"/>
        </a:spcBef>
        <a:spcAft>
          <a:spcPct val="0"/>
        </a:spcAft>
        <a:buChar char="»"/>
        <a:defRPr sz="2000">
          <a:solidFill>
            <a:srgbClr val="255C81"/>
          </a:solidFill>
          <a:latin typeface="+mn-lt"/>
        </a:defRPr>
      </a:lvl6pPr>
      <a:lvl7pPr marL="2971800" indent="-228600" algn="l" rtl="0" fontAlgn="base">
        <a:spcBef>
          <a:spcPct val="20000"/>
        </a:spcBef>
        <a:spcAft>
          <a:spcPct val="0"/>
        </a:spcAft>
        <a:buChar char="»"/>
        <a:defRPr sz="2000">
          <a:solidFill>
            <a:srgbClr val="255C81"/>
          </a:solidFill>
          <a:latin typeface="+mn-lt"/>
        </a:defRPr>
      </a:lvl7pPr>
      <a:lvl8pPr marL="3429000" indent="-228600" algn="l" rtl="0" fontAlgn="base">
        <a:spcBef>
          <a:spcPct val="20000"/>
        </a:spcBef>
        <a:spcAft>
          <a:spcPct val="0"/>
        </a:spcAft>
        <a:buChar char="»"/>
        <a:defRPr sz="2000">
          <a:solidFill>
            <a:srgbClr val="255C81"/>
          </a:solidFill>
          <a:latin typeface="+mn-lt"/>
        </a:defRPr>
      </a:lvl8pPr>
      <a:lvl9pPr marL="3886200" indent="-228600" algn="l" rtl="0" fontAlgn="base">
        <a:spcBef>
          <a:spcPct val="20000"/>
        </a:spcBef>
        <a:spcAft>
          <a:spcPct val="0"/>
        </a:spcAft>
        <a:buChar char="»"/>
        <a:defRPr sz="2000">
          <a:solidFill>
            <a:srgbClr val="255C8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hemeOverride" Target="../theme/themeOverride1.xml"/><Relationship Id="rId5" Type="http://schemas.openxmlformats.org/officeDocument/2006/relationships/image" Target="../media/image11.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jpeg"/><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diagramLayout" Target="../diagrams/layout2.xml"/><Relationship Id="rId7" Type="http://schemas.openxmlformats.org/officeDocument/2006/relationships/image" Target="../media/image18.wmf"/><Relationship Id="rId12" Type="http://schemas.openxmlformats.org/officeDocument/2006/relationships/image" Target="../media/image11.png"/><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11" Type="http://schemas.openxmlformats.org/officeDocument/2006/relationships/image" Target="../media/image22.jpeg"/><Relationship Id="rId5" Type="http://schemas.openxmlformats.org/officeDocument/2006/relationships/diagramColors" Target="../diagrams/colors2.xml"/><Relationship Id="rId10" Type="http://schemas.openxmlformats.org/officeDocument/2006/relationships/image" Target="../media/image21.jpeg"/><Relationship Id="rId4" Type="http://schemas.openxmlformats.org/officeDocument/2006/relationships/diagramQuickStyle" Target="../diagrams/quickStyle2.xml"/><Relationship Id="rId9" Type="http://schemas.openxmlformats.org/officeDocument/2006/relationships/image" Target="../media/image20.wmf"/></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mailto:daniela.torres@telefonica.com"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 name="AutoShape 7"/>
          <p:cNvSpPr>
            <a:spLocks/>
          </p:cNvSpPr>
          <p:nvPr/>
        </p:nvSpPr>
        <p:spPr bwMode="auto">
          <a:xfrm>
            <a:off x="228600" y="228600"/>
            <a:ext cx="4127376" cy="3344863"/>
          </a:xfrm>
          <a:prstGeom prst="roundRect">
            <a:avLst>
              <a:gd name="adj" fmla="val 2796"/>
            </a:avLst>
          </a:prstGeom>
          <a:solidFill>
            <a:srgbClr val="072534">
              <a:alpha val="59999"/>
            </a:srgbClr>
          </a:solidFill>
          <a:ln w="25400">
            <a:noFill/>
            <a:miter lim="800000"/>
            <a:headEnd/>
            <a:tailEnd/>
          </a:ln>
        </p:spPr>
        <p:txBody>
          <a:bodyPr lIns="0" tIns="0" rIns="0" bIns="0"/>
          <a:lstStyle>
            <a:lvl1pPr eaLnBrk="0" hangingPunct="0">
              <a:defRPr sz="2800">
                <a:solidFill>
                  <a:srgbClr val="000000"/>
                </a:solidFill>
                <a:latin typeface="Arial" panose="020B0604020202020204" pitchFamily="34" charset="0"/>
                <a:ea typeface="ヒラギノ角ゴ ProN W3" pitchFamily="105" charset="-128"/>
                <a:sym typeface="Gill Sans" pitchFamily="105" charset="0"/>
              </a:defRPr>
            </a:lvl1pPr>
            <a:lvl2pPr marL="37931725" indent="-37474525" eaLnBrk="0" hangingPunct="0">
              <a:defRPr sz="2800">
                <a:solidFill>
                  <a:srgbClr val="000000"/>
                </a:solidFill>
                <a:latin typeface="Arial" panose="020B0604020202020204" pitchFamily="34" charset="0"/>
                <a:ea typeface="ヒラギノ角ゴ ProN W3" pitchFamily="105" charset="-128"/>
                <a:sym typeface="Gill Sans" pitchFamily="105" charset="0"/>
              </a:defRPr>
            </a:lvl2pPr>
            <a:lvl3pPr eaLnBrk="0" hangingPunct="0">
              <a:defRPr sz="2800">
                <a:solidFill>
                  <a:srgbClr val="000000"/>
                </a:solidFill>
                <a:latin typeface="Arial" panose="020B0604020202020204" pitchFamily="34" charset="0"/>
                <a:ea typeface="ヒラギノ角ゴ ProN W3" pitchFamily="105" charset="-128"/>
                <a:sym typeface="Gill Sans" pitchFamily="105" charset="0"/>
              </a:defRPr>
            </a:lvl3pPr>
            <a:lvl4pPr eaLnBrk="0" hangingPunct="0">
              <a:defRPr sz="2800">
                <a:solidFill>
                  <a:srgbClr val="000000"/>
                </a:solidFill>
                <a:latin typeface="Arial" panose="020B0604020202020204" pitchFamily="34" charset="0"/>
                <a:ea typeface="ヒラギノ角ゴ ProN W3" pitchFamily="105" charset="-128"/>
                <a:sym typeface="Gill Sans" pitchFamily="105" charset="0"/>
              </a:defRPr>
            </a:lvl4pPr>
            <a:lvl5pPr eaLnBrk="0" hangingPunct="0">
              <a:defRPr sz="2800">
                <a:solidFill>
                  <a:srgbClr val="000000"/>
                </a:solidFill>
                <a:latin typeface="Arial" panose="020B0604020202020204" pitchFamily="34" charset="0"/>
                <a:ea typeface="ヒラギノ角ゴ ProN W3" pitchFamily="105" charset="-128"/>
                <a:sym typeface="Gill Sans" pitchFamily="105" charset="0"/>
              </a:defRPr>
            </a:lvl5pPr>
            <a:lvl6pPr marL="4572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6pPr>
            <a:lvl7pPr marL="9144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7pPr>
            <a:lvl8pPr marL="13716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8pPr>
            <a:lvl9pPr marL="18288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9pPr>
          </a:lstStyle>
          <a:p>
            <a:pPr algn="ctr" eaLnBrk="1" fontAlgn="base" hangingPunct="1">
              <a:spcBef>
                <a:spcPct val="0"/>
              </a:spcBef>
              <a:spcAft>
                <a:spcPct val="0"/>
              </a:spcAft>
            </a:pPr>
            <a:endParaRPr lang="es-ES" sz="1800"/>
          </a:p>
        </p:txBody>
      </p:sp>
      <p:pic>
        <p:nvPicPr>
          <p:cNvPr id="1434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8" y="442913"/>
            <a:ext cx="1163637"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41" name="Rectangle 9"/>
          <p:cNvSpPr>
            <a:spLocks/>
          </p:cNvSpPr>
          <p:nvPr/>
        </p:nvSpPr>
        <p:spPr bwMode="auto">
          <a:xfrm>
            <a:off x="403225" y="1295400"/>
            <a:ext cx="3322638" cy="109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52363" bIns="0"/>
          <a:lstStyle>
            <a:lvl1pPr eaLnBrk="0" hangingPunct="0">
              <a:defRPr sz="2800">
                <a:solidFill>
                  <a:srgbClr val="000000"/>
                </a:solidFill>
                <a:latin typeface="Arial" panose="020B0604020202020204" pitchFamily="34" charset="0"/>
                <a:ea typeface="ヒラギノ角ゴ ProN W3" pitchFamily="105" charset="-128"/>
                <a:sym typeface="Gill Sans" pitchFamily="105" charset="0"/>
              </a:defRPr>
            </a:lvl1pPr>
            <a:lvl2pPr marL="37931725" indent="-37474525" eaLnBrk="0" hangingPunct="0">
              <a:defRPr sz="2800">
                <a:solidFill>
                  <a:srgbClr val="000000"/>
                </a:solidFill>
                <a:latin typeface="Arial" panose="020B0604020202020204" pitchFamily="34" charset="0"/>
                <a:ea typeface="ヒラギノ角ゴ ProN W3" pitchFamily="105" charset="-128"/>
                <a:sym typeface="Gill Sans" pitchFamily="105" charset="0"/>
              </a:defRPr>
            </a:lvl2pPr>
            <a:lvl3pPr eaLnBrk="0" hangingPunct="0">
              <a:defRPr sz="2800">
                <a:solidFill>
                  <a:srgbClr val="000000"/>
                </a:solidFill>
                <a:latin typeface="Arial" panose="020B0604020202020204" pitchFamily="34" charset="0"/>
                <a:ea typeface="ヒラギノ角ゴ ProN W3" pitchFamily="105" charset="-128"/>
                <a:sym typeface="Gill Sans" pitchFamily="105" charset="0"/>
              </a:defRPr>
            </a:lvl3pPr>
            <a:lvl4pPr eaLnBrk="0" hangingPunct="0">
              <a:defRPr sz="2800">
                <a:solidFill>
                  <a:srgbClr val="000000"/>
                </a:solidFill>
                <a:latin typeface="Arial" panose="020B0604020202020204" pitchFamily="34" charset="0"/>
                <a:ea typeface="ヒラギノ角ゴ ProN W3" pitchFamily="105" charset="-128"/>
                <a:sym typeface="Gill Sans" pitchFamily="105" charset="0"/>
              </a:defRPr>
            </a:lvl4pPr>
            <a:lvl5pPr eaLnBrk="0" hangingPunct="0">
              <a:defRPr sz="2800">
                <a:solidFill>
                  <a:srgbClr val="000000"/>
                </a:solidFill>
                <a:latin typeface="Arial" panose="020B0604020202020204" pitchFamily="34" charset="0"/>
                <a:ea typeface="ヒラギノ角ゴ ProN W3" pitchFamily="105" charset="-128"/>
                <a:sym typeface="Gill Sans" pitchFamily="105" charset="0"/>
              </a:defRPr>
            </a:lvl5pPr>
            <a:lvl6pPr marL="4572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6pPr>
            <a:lvl7pPr marL="9144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7pPr>
            <a:lvl8pPr marL="13716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8pPr>
            <a:lvl9pPr marL="1828800" eaLnBrk="0" fontAlgn="base" hangingPunct="0">
              <a:spcBef>
                <a:spcPct val="0"/>
              </a:spcBef>
              <a:spcAft>
                <a:spcPct val="0"/>
              </a:spcAft>
              <a:defRPr sz="2800">
                <a:solidFill>
                  <a:srgbClr val="000000"/>
                </a:solidFill>
                <a:latin typeface="Arial" panose="020B0604020202020204" pitchFamily="34" charset="0"/>
                <a:ea typeface="ヒラギノ角ゴ ProN W3" pitchFamily="105" charset="-128"/>
                <a:sym typeface="Gill Sans" pitchFamily="105" charset="0"/>
              </a:defRPr>
            </a:lvl9pPr>
          </a:lstStyle>
          <a:p>
            <a:pPr eaLnBrk="1" fontAlgn="base" hangingPunct="1">
              <a:spcBef>
                <a:spcPct val="0"/>
              </a:spcBef>
              <a:spcAft>
                <a:spcPct val="0"/>
              </a:spcAft>
            </a:pPr>
            <a:r>
              <a:rPr lang="es-ES_tradnl" sz="2200" b="1" dirty="0" smtClean="0">
                <a:solidFill>
                  <a:srgbClr val="FFFFFF"/>
                </a:solidFill>
                <a:latin typeface="Trebuchet MS" panose="020B0603020202020204" pitchFamily="34" charset="0"/>
                <a:ea typeface="ヒラギノ角ゴ Pro W3" pitchFamily="105" charset="-128"/>
                <a:sym typeface="Trebuchet MS" panose="020B0603020202020204" pitchFamily="34" charset="0"/>
              </a:rPr>
              <a:t>Gestión de residuos eléctricos y electrónicos en Telefónica</a:t>
            </a:r>
            <a:r>
              <a:rPr lang="en-US" sz="2200" b="1" dirty="0" smtClean="0">
                <a:solidFill>
                  <a:srgbClr val="FFC000"/>
                </a:solidFill>
                <a:latin typeface="Trebuchet MS" panose="020B0603020202020204" pitchFamily="34" charset="0"/>
                <a:ea typeface="ヒラギノ角ゴ Pro W3" pitchFamily="105" charset="-128"/>
                <a:sym typeface="Trebuchet MS" panose="020B0603020202020204" pitchFamily="34" charset="0"/>
              </a:rPr>
              <a:t>_</a:t>
            </a:r>
            <a:endParaRPr lang="en-US" sz="2200" b="1" dirty="0">
              <a:solidFill>
                <a:srgbClr val="FFC000"/>
              </a:solidFill>
              <a:latin typeface="Trebuchet MS" panose="020B0603020202020204" pitchFamily="34" charset="0"/>
              <a:ea typeface="ヒラギノ角ゴ Pro W3" pitchFamily="105" charset="-128"/>
              <a:sym typeface="Trebuchet MS" panose="020B0603020202020204" pitchFamily="34" charset="0"/>
            </a:endParaRPr>
          </a:p>
        </p:txBody>
      </p:sp>
      <p:sp>
        <p:nvSpPr>
          <p:cNvPr id="9" name="Title 1"/>
          <p:cNvSpPr txBox="1">
            <a:spLocks/>
          </p:cNvSpPr>
          <p:nvPr/>
        </p:nvSpPr>
        <p:spPr bwMode="auto">
          <a:xfrm>
            <a:off x="323528" y="2564904"/>
            <a:ext cx="4325937" cy="86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103163" tIns="51581" rIns="103163" bIns="51581"/>
          <a:lstStyle>
            <a:lvl1pPr eaLnBrk="0" hangingPunct="0">
              <a:defRPr sz="3200" u="sng">
                <a:solidFill>
                  <a:srgbClr val="000000"/>
                </a:solidFill>
                <a:latin typeface="Arial" pitchFamily="34" charset="0"/>
                <a:ea typeface="ヒラギノ角ゴ ProN W3" charset="-128"/>
                <a:sym typeface="Gill Sans" charset="0"/>
              </a:defRPr>
            </a:lvl1pPr>
            <a:lvl2pPr marL="742950" indent="-285750" eaLnBrk="0" hangingPunct="0">
              <a:defRPr sz="3200" u="sng">
                <a:solidFill>
                  <a:srgbClr val="000000"/>
                </a:solidFill>
                <a:latin typeface="Arial" pitchFamily="34" charset="0"/>
                <a:ea typeface="ヒラギノ角ゴ ProN W3" charset="-128"/>
                <a:sym typeface="Gill Sans" charset="0"/>
              </a:defRPr>
            </a:lvl2pPr>
            <a:lvl3pPr marL="1143000" indent="-228600" eaLnBrk="0" hangingPunct="0">
              <a:defRPr sz="3200" u="sng">
                <a:solidFill>
                  <a:srgbClr val="000000"/>
                </a:solidFill>
                <a:latin typeface="Arial" pitchFamily="34" charset="0"/>
                <a:ea typeface="ヒラギノ角ゴ ProN W3" charset="-128"/>
                <a:sym typeface="Gill Sans" charset="0"/>
              </a:defRPr>
            </a:lvl3pPr>
            <a:lvl4pPr marL="1600200" indent="-228600" eaLnBrk="0" hangingPunct="0">
              <a:defRPr sz="3200" u="sng">
                <a:solidFill>
                  <a:srgbClr val="000000"/>
                </a:solidFill>
                <a:latin typeface="Arial" pitchFamily="34" charset="0"/>
                <a:ea typeface="ヒラギノ角ゴ ProN W3" charset="-128"/>
                <a:sym typeface="Gill Sans" charset="0"/>
              </a:defRPr>
            </a:lvl4pPr>
            <a:lvl5pPr marL="2057400" indent="-228600" eaLnBrk="0" hangingPunct="0">
              <a:defRPr sz="3200" u="sng">
                <a:solidFill>
                  <a:srgbClr val="000000"/>
                </a:solidFill>
                <a:latin typeface="Arial" pitchFamily="34" charset="0"/>
                <a:ea typeface="ヒラギノ角ゴ ProN W3" charset="-128"/>
                <a:sym typeface="Gill Sans" charset="0"/>
              </a:defRPr>
            </a:lvl5pPr>
            <a:lvl6pPr marL="2514600" indent="-228600" algn="ctr" eaLnBrk="0" fontAlgn="base" hangingPunct="0">
              <a:spcBef>
                <a:spcPct val="0"/>
              </a:spcBef>
              <a:spcAft>
                <a:spcPct val="0"/>
              </a:spcAft>
              <a:defRPr sz="3200" u="sng">
                <a:solidFill>
                  <a:srgbClr val="000000"/>
                </a:solidFill>
                <a:latin typeface="Arial" pitchFamily="34" charset="0"/>
                <a:ea typeface="ヒラギノ角ゴ ProN W3" charset="-128"/>
                <a:sym typeface="Gill Sans" charset="0"/>
              </a:defRPr>
            </a:lvl6pPr>
            <a:lvl7pPr marL="2971800" indent="-228600" algn="ctr" eaLnBrk="0" fontAlgn="base" hangingPunct="0">
              <a:spcBef>
                <a:spcPct val="0"/>
              </a:spcBef>
              <a:spcAft>
                <a:spcPct val="0"/>
              </a:spcAft>
              <a:defRPr sz="3200" u="sng">
                <a:solidFill>
                  <a:srgbClr val="000000"/>
                </a:solidFill>
                <a:latin typeface="Arial" pitchFamily="34" charset="0"/>
                <a:ea typeface="ヒラギノ角ゴ ProN W3" charset="-128"/>
                <a:sym typeface="Gill Sans" charset="0"/>
              </a:defRPr>
            </a:lvl7pPr>
            <a:lvl8pPr marL="3429000" indent="-228600" algn="ctr" eaLnBrk="0" fontAlgn="base" hangingPunct="0">
              <a:spcBef>
                <a:spcPct val="0"/>
              </a:spcBef>
              <a:spcAft>
                <a:spcPct val="0"/>
              </a:spcAft>
              <a:defRPr sz="3200" u="sng">
                <a:solidFill>
                  <a:srgbClr val="000000"/>
                </a:solidFill>
                <a:latin typeface="Arial" pitchFamily="34" charset="0"/>
                <a:ea typeface="ヒラギノ角ゴ ProN W3" charset="-128"/>
                <a:sym typeface="Gill Sans" charset="0"/>
              </a:defRPr>
            </a:lvl8pPr>
            <a:lvl9pPr marL="3886200" indent="-228600" algn="ctr" eaLnBrk="0" fontAlgn="base" hangingPunct="0">
              <a:spcBef>
                <a:spcPct val="0"/>
              </a:spcBef>
              <a:spcAft>
                <a:spcPct val="0"/>
              </a:spcAft>
              <a:defRPr sz="3200" u="sng">
                <a:solidFill>
                  <a:srgbClr val="000000"/>
                </a:solidFill>
                <a:latin typeface="Arial" pitchFamily="34" charset="0"/>
                <a:ea typeface="ヒラギノ角ゴ ProN W3" charset="-128"/>
                <a:sym typeface="Gill Sans" charset="0"/>
              </a:defRPr>
            </a:lvl9pPr>
          </a:lstStyle>
          <a:p>
            <a:pPr algn="l">
              <a:defRPr/>
            </a:pPr>
            <a:r>
              <a:rPr lang="es-ES" sz="1200" u="none" dirty="0" smtClean="0">
                <a:solidFill>
                  <a:schemeClr val="bg1"/>
                </a:solidFill>
                <a:ea typeface="MS PGothic" pitchFamily="34" charset="-128"/>
              </a:rPr>
              <a:t>Daniela Torres Espinosa </a:t>
            </a:r>
          </a:p>
          <a:p>
            <a:pPr algn="l">
              <a:defRPr/>
            </a:pPr>
            <a:r>
              <a:rPr lang="es-ES" sz="1200" u="none" dirty="0" smtClean="0">
                <a:solidFill>
                  <a:schemeClr val="bg1"/>
                </a:solidFill>
                <a:ea typeface="MS PGothic" pitchFamily="34" charset="-128"/>
              </a:rPr>
              <a:t>Gerencia de Green TIC y Medio Ambiente</a:t>
            </a:r>
          </a:p>
          <a:p>
            <a:pPr algn="l">
              <a:defRPr/>
            </a:pPr>
            <a:r>
              <a:rPr lang="es-ES" sz="1200" u="none" dirty="0" smtClean="0">
                <a:solidFill>
                  <a:schemeClr val="bg1"/>
                </a:solidFill>
                <a:ea typeface="MS PGothic" pitchFamily="34" charset="-128"/>
              </a:rPr>
              <a:t>Telefónica S.A</a:t>
            </a:r>
          </a:p>
          <a:p>
            <a:pPr algn="l">
              <a:defRPr/>
            </a:pPr>
            <a:r>
              <a:rPr lang="es-ES" sz="1200" u="none" dirty="0" smtClean="0">
                <a:solidFill>
                  <a:schemeClr val="bg1"/>
                </a:solidFill>
                <a:ea typeface="MS PGothic" pitchFamily="34" charset="-128"/>
              </a:rPr>
              <a:t>Montevideo, Marzo, 2014</a:t>
            </a:r>
          </a:p>
        </p:txBody>
      </p:sp>
    </p:spTree>
    <p:extLst>
      <p:ext uri="{BB962C8B-B14F-4D97-AF65-F5344CB8AC3E}">
        <p14:creationId xmlns:p14="http://schemas.microsoft.com/office/powerpoint/2010/main" val="31895767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35 Grupo"/>
          <p:cNvGrpSpPr/>
          <p:nvPr/>
        </p:nvGrpSpPr>
        <p:grpSpPr>
          <a:xfrm>
            <a:off x="1259632" y="1196752"/>
            <a:ext cx="6577572" cy="864096"/>
            <a:chOff x="1207059" y="1052736"/>
            <a:chExt cx="6577572" cy="864096"/>
          </a:xfrm>
        </p:grpSpPr>
        <p:pic>
          <p:nvPicPr>
            <p:cNvPr id="1027" name="Picture 3" descr="D:\TEX2104\Escritorio\lgo_vivo_a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7059" y="1124744"/>
              <a:ext cx="2098930" cy="69789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TEX2104\Escritorio\lgo_o2_at.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5788730" y="1095193"/>
              <a:ext cx="1899049" cy="773884"/>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D:\TEX2104\Escritorio\lgo_movistar_a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39307" y="1124744"/>
              <a:ext cx="2238596" cy="744333"/>
            </a:xfrm>
            <a:prstGeom prst="rect">
              <a:avLst/>
            </a:prstGeom>
            <a:noFill/>
            <a:extLst>
              <a:ext uri="{909E8E84-426E-40DD-AFC4-6F175D3DCCD1}">
                <a14:hiddenFill xmlns:a14="http://schemas.microsoft.com/office/drawing/2010/main">
                  <a:solidFill>
                    <a:srgbClr val="FFFFFF"/>
                  </a:solidFill>
                </a14:hiddenFill>
              </a:ext>
            </a:extLst>
          </p:spPr>
        </p:pic>
        <p:sp>
          <p:nvSpPr>
            <p:cNvPr id="35" name="34 Rectángulo"/>
            <p:cNvSpPr/>
            <p:nvPr/>
          </p:nvSpPr>
          <p:spPr bwMode="auto">
            <a:xfrm>
              <a:off x="1259633" y="1052736"/>
              <a:ext cx="6524998" cy="864096"/>
            </a:xfrm>
            <a:prstGeom prst="rect">
              <a:avLst/>
            </a:prstGeom>
            <a:noFill/>
            <a:ln w="25400" cap="flat" cmpd="sng" algn="ctr">
              <a:solidFill>
                <a:schemeClr val="bg1">
                  <a:lumMod val="75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endParaRPr>
            </a:p>
          </p:txBody>
        </p:sp>
      </p:grpSp>
      <p:grpSp>
        <p:nvGrpSpPr>
          <p:cNvPr id="32" name="1 Grupo"/>
          <p:cNvGrpSpPr>
            <a:grpSpLocks/>
          </p:cNvGrpSpPr>
          <p:nvPr/>
        </p:nvGrpSpPr>
        <p:grpSpPr bwMode="auto">
          <a:xfrm>
            <a:off x="1259632" y="2300436"/>
            <a:ext cx="1555750" cy="1439862"/>
            <a:chOff x="2751776" y="1579686"/>
            <a:chExt cx="1554743" cy="1440045"/>
          </a:xfrm>
        </p:grpSpPr>
        <p:sp>
          <p:nvSpPr>
            <p:cNvPr id="33" name="13 Elipse"/>
            <p:cNvSpPr>
              <a:spLocks noChangeAspect="1"/>
            </p:cNvSpPr>
            <p:nvPr/>
          </p:nvSpPr>
          <p:spPr bwMode="auto">
            <a:xfrm>
              <a:off x="2751779" y="1579686"/>
              <a:ext cx="1554740" cy="1440045"/>
            </a:xfrm>
            <a:prstGeom prst="ellipse">
              <a:avLst/>
            </a:prstGeom>
            <a:solidFill>
              <a:schemeClr val="bg1">
                <a:lumMod val="95000"/>
              </a:schemeClr>
            </a:solidFill>
            <a:ln w="25400">
              <a:solidFill>
                <a:schemeClr val="tx2"/>
              </a:solidFill>
              <a:round/>
              <a:headEnd/>
              <a:tailEnd/>
            </a:ln>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34" name="14 Rectángulo"/>
            <p:cNvSpPr>
              <a:spLocks noChangeArrowheads="1"/>
            </p:cNvSpPr>
            <p:nvPr/>
          </p:nvSpPr>
          <p:spPr bwMode="auto">
            <a:xfrm>
              <a:off x="2751776" y="1838029"/>
              <a:ext cx="1554743" cy="923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sz="5400" dirty="0">
                <a:solidFill>
                  <a:srgbClr val="FFFFFF"/>
                </a:solidFill>
                <a:latin typeface="Calibri" panose="020F0502020204030204" pitchFamily="34" charset="0"/>
                <a:cs typeface="Calibri" panose="020F0502020204030204" pitchFamily="34" charset="0"/>
              </a:endParaRPr>
            </a:p>
          </p:txBody>
        </p:sp>
      </p:grpSp>
      <p:sp>
        <p:nvSpPr>
          <p:cNvPr id="2" name="1 Marcador de número de diapositiva"/>
          <p:cNvSpPr>
            <a:spLocks noGrp="1"/>
          </p:cNvSpPr>
          <p:nvPr>
            <p:ph type="sldNum" sz="quarter" idx="4"/>
          </p:nvPr>
        </p:nvSpPr>
        <p:spPr>
          <a:xfrm>
            <a:off x="4449669" y="6464175"/>
            <a:ext cx="279065" cy="292350"/>
          </a:xfrm>
        </p:spPr>
        <p:txBody>
          <a:bodyPr/>
          <a:lstStyle/>
          <a:p>
            <a:fld id="{9D9F8B9A-560A-470D-9EA6-79F5999904E6}" type="slidenum">
              <a:rPr lang="en-GB" smtClean="0"/>
              <a:pPr/>
              <a:t>2</a:t>
            </a:fld>
            <a:endParaRPr lang="en-GB" dirty="0"/>
          </a:p>
        </p:txBody>
      </p:sp>
      <p:grpSp>
        <p:nvGrpSpPr>
          <p:cNvPr id="3" name="1 Grupo"/>
          <p:cNvGrpSpPr>
            <a:grpSpLocks/>
          </p:cNvGrpSpPr>
          <p:nvPr/>
        </p:nvGrpSpPr>
        <p:grpSpPr bwMode="auto">
          <a:xfrm>
            <a:off x="2918943" y="2300436"/>
            <a:ext cx="1555750" cy="1439862"/>
            <a:chOff x="2751776" y="1579686"/>
            <a:chExt cx="1554743" cy="1440045"/>
          </a:xfrm>
        </p:grpSpPr>
        <p:sp>
          <p:nvSpPr>
            <p:cNvPr id="4" name="13 Elipse"/>
            <p:cNvSpPr>
              <a:spLocks noChangeAspect="1"/>
            </p:cNvSpPr>
            <p:nvPr/>
          </p:nvSpPr>
          <p:spPr bwMode="auto">
            <a:xfrm>
              <a:off x="2751779" y="1579686"/>
              <a:ext cx="1554740" cy="1440045"/>
            </a:xfrm>
            <a:prstGeom prst="ellipse">
              <a:avLst/>
            </a:prstGeom>
            <a:solidFill>
              <a:srgbClr val="04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5" name="14 Rectángulo"/>
            <p:cNvSpPr>
              <a:spLocks noChangeArrowheads="1"/>
            </p:cNvSpPr>
            <p:nvPr/>
          </p:nvSpPr>
          <p:spPr bwMode="auto">
            <a:xfrm>
              <a:off x="2751776" y="1838029"/>
              <a:ext cx="1554743" cy="923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5400" b="1" dirty="0" smtClean="0">
                  <a:solidFill>
                    <a:srgbClr val="FFFFFF"/>
                  </a:solidFill>
                  <a:latin typeface="Calibri" panose="020F0502020204030204" pitchFamily="34" charset="0"/>
                  <a:cs typeface="Calibri" panose="020F0502020204030204" pitchFamily="34" charset="0"/>
                </a:rPr>
                <a:t>24</a:t>
              </a:r>
              <a:endParaRPr lang="es-ES" altLang="es-ES" sz="5400" dirty="0">
                <a:solidFill>
                  <a:srgbClr val="FFFFFF"/>
                </a:solidFill>
                <a:latin typeface="Calibri" panose="020F0502020204030204" pitchFamily="34" charset="0"/>
                <a:cs typeface="Calibri" panose="020F0502020204030204" pitchFamily="34" charset="0"/>
              </a:endParaRPr>
            </a:p>
          </p:txBody>
        </p:sp>
      </p:grpSp>
      <p:sp>
        <p:nvSpPr>
          <p:cNvPr id="6" name="5 Rectángulo"/>
          <p:cNvSpPr/>
          <p:nvPr/>
        </p:nvSpPr>
        <p:spPr bwMode="auto">
          <a:xfrm>
            <a:off x="2918943" y="3586311"/>
            <a:ext cx="1555750" cy="779462"/>
          </a:xfrm>
          <a:prstGeom prst="rect">
            <a:avLst/>
          </a:prstGeom>
        </p:spPr>
        <p:txBody>
          <a:bodyPr anchor="ctr" anchorCtr="1"/>
          <a:lstStyle/>
          <a:p>
            <a:pPr algn="l" eaLnBrk="0" hangingPunct="0">
              <a:defRPr/>
            </a:pPr>
            <a:r>
              <a:rPr lang="es-ES_tradnl" sz="1400" b="1" dirty="0" smtClean="0">
                <a:solidFill>
                  <a:schemeClr val="tx1"/>
                </a:solidFill>
                <a:latin typeface="+mj-lt"/>
                <a:ea typeface="+mj-ea"/>
                <a:cs typeface="Calibri" panose="020F0502020204030204" pitchFamily="34" charset="0"/>
              </a:rPr>
              <a:t>países</a:t>
            </a:r>
            <a:endParaRPr lang="es-ES" sz="1400" b="1" dirty="0">
              <a:solidFill>
                <a:schemeClr val="tx1"/>
              </a:solidFill>
              <a:latin typeface="+mj-lt"/>
              <a:ea typeface="+mj-ea"/>
              <a:cs typeface="Calibri" panose="020F0502020204030204" pitchFamily="34" charset="0"/>
            </a:endParaRPr>
          </a:p>
        </p:txBody>
      </p:sp>
      <p:sp>
        <p:nvSpPr>
          <p:cNvPr id="7" name="13 Elipse"/>
          <p:cNvSpPr>
            <a:spLocks noChangeAspect="1"/>
          </p:cNvSpPr>
          <p:nvPr/>
        </p:nvSpPr>
        <p:spPr bwMode="auto">
          <a:xfrm>
            <a:off x="6230468" y="2300436"/>
            <a:ext cx="1554162" cy="1439862"/>
          </a:xfrm>
          <a:prstGeom prst="ellipse">
            <a:avLst/>
          </a:prstGeom>
          <a:solidFill>
            <a:srgbClr val="04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8" name="14 Rectángulo"/>
          <p:cNvSpPr>
            <a:spLocks noChangeArrowheads="1"/>
          </p:cNvSpPr>
          <p:nvPr/>
        </p:nvSpPr>
        <p:spPr bwMode="auto">
          <a:xfrm>
            <a:off x="6230468" y="2559198"/>
            <a:ext cx="155416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5400" b="1" dirty="0" smtClean="0">
                <a:solidFill>
                  <a:srgbClr val="FFFFFF"/>
                </a:solidFill>
                <a:latin typeface="Calibri" panose="020F0502020204030204" pitchFamily="34" charset="0"/>
                <a:cs typeface="Calibri" panose="020F0502020204030204" pitchFamily="34" charset="0"/>
              </a:rPr>
              <a:t>130</a:t>
            </a:r>
            <a:endParaRPr lang="es-ES" altLang="es-ES" sz="5400" dirty="0">
              <a:solidFill>
                <a:srgbClr val="FFFFFF"/>
              </a:solidFill>
              <a:latin typeface="Calibri" panose="020F0502020204030204" pitchFamily="34" charset="0"/>
              <a:cs typeface="Calibri" panose="020F0502020204030204" pitchFamily="34" charset="0"/>
            </a:endParaRPr>
          </a:p>
        </p:txBody>
      </p:sp>
      <p:sp>
        <p:nvSpPr>
          <p:cNvPr id="9" name="8 Rectángulo"/>
          <p:cNvSpPr/>
          <p:nvPr/>
        </p:nvSpPr>
        <p:spPr bwMode="auto">
          <a:xfrm>
            <a:off x="6230468" y="3586311"/>
            <a:ext cx="1554162" cy="779462"/>
          </a:xfrm>
          <a:prstGeom prst="rect">
            <a:avLst/>
          </a:prstGeom>
        </p:spPr>
        <p:txBody>
          <a:bodyPr anchor="ctr" anchorCtr="1"/>
          <a:lstStyle/>
          <a:p>
            <a:pPr algn="ctr" eaLnBrk="0" hangingPunct="0">
              <a:defRPr/>
            </a:pPr>
            <a:r>
              <a:rPr lang="es-ES_tradnl" sz="1400" b="1" dirty="0">
                <a:latin typeface="+mj-lt"/>
                <a:ea typeface="+mj-ea"/>
                <a:cs typeface="Calibri" panose="020F0502020204030204" pitchFamily="34" charset="0"/>
              </a:rPr>
              <a:t>m</a:t>
            </a:r>
            <a:r>
              <a:rPr lang="es-ES_tradnl" sz="1400" b="1" dirty="0" smtClean="0">
                <a:solidFill>
                  <a:schemeClr val="tx1"/>
                </a:solidFill>
                <a:latin typeface="+mj-lt"/>
                <a:ea typeface="+mj-ea"/>
                <a:cs typeface="Calibri" panose="020F0502020204030204" pitchFamily="34" charset="0"/>
              </a:rPr>
              <a:t>iles de profesionales</a:t>
            </a:r>
            <a:endParaRPr lang="es-ES" sz="1400" b="1" dirty="0">
              <a:solidFill>
                <a:schemeClr val="tx1"/>
              </a:solidFill>
              <a:latin typeface="+mj-lt"/>
              <a:ea typeface="+mj-ea"/>
              <a:cs typeface="Calibri" panose="020F0502020204030204" pitchFamily="34" charset="0"/>
            </a:endParaRPr>
          </a:p>
        </p:txBody>
      </p:sp>
      <p:sp>
        <p:nvSpPr>
          <p:cNvPr id="10" name="65 Elipse"/>
          <p:cNvSpPr>
            <a:spLocks noChangeAspect="1"/>
          </p:cNvSpPr>
          <p:nvPr/>
        </p:nvSpPr>
        <p:spPr bwMode="auto">
          <a:xfrm>
            <a:off x="4574705" y="2300436"/>
            <a:ext cx="1554163" cy="1439862"/>
          </a:xfrm>
          <a:prstGeom prst="ellipse">
            <a:avLst/>
          </a:prstGeom>
          <a:solidFill>
            <a:srgbClr val="04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11" name="14 Rectángulo"/>
          <p:cNvSpPr>
            <a:spLocks noChangeArrowheads="1"/>
          </p:cNvSpPr>
          <p:nvPr/>
        </p:nvSpPr>
        <p:spPr bwMode="auto">
          <a:xfrm>
            <a:off x="4574705" y="2559198"/>
            <a:ext cx="1554163"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5400" b="1" dirty="0" smtClean="0">
                <a:solidFill>
                  <a:srgbClr val="FFFFFF"/>
                </a:solidFill>
                <a:latin typeface="Calibri" panose="020F0502020204030204" pitchFamily="34" charset="0"/>
                <a:cs typeface="Calibri" panose="020F0502020204030204" pitchFamily="34" charset="0"/>
              </a:rPr>
              <a:t>320</a:t>
            </a:r>
            <a:endParaRPr lang="es-ES" altLang="es-ES" sz="5400" dirty="0">
              <a:solidFill>
                <a:srgbClr val="FFFFFF"/>
              </a:solidFill>
              <a:latin typeface="Calibri" panose="020F0502020204030204" pitchFamily="34" charset="0"/>
              <a:cs typeface="Calibri" panose="020F0502020204030204" pitchFamily="34" charset="0"/>
            </a:endParaRPr>
          </a:p>
        </p:txBody>
      </p:sp>
      <p:sp>
        <p:nvSpPr>
          <p:cNvPr id="12" name="11 Rectángulo"/>
          <p:cNvSpPr/>
          <p:nvPr/>
        </p:nvSpPr>
        <p:spPr bwMode="auto">
          <a:xfrm>
            <a:off x="4574705" y="3586311"/>
            <a:ext cx="1554163" cy="779462"/>
          </a:xfrm>
          <a:prstGeom prst="rect">
            <a:avLst/>
          </a:prstGeom>
        </p:spPr>
        <p:txBody>
          <a:bodyPr anchor="ctr" anchorCtr="1"/>
          <a:lstStyle/>
          <a:p>
            <a:pPr algn="ctr" eaLnBrk="0" hangingPunct="0">
              <a:defRPr/>
            </a:pPr>
            <a:r>
              <a:rPr lang="es-ES_tradnl" sz="1400" b="1" dirty="0" smtClean="0">
                <a:latin typeface="+mj-lt"/>
                <a:ea typeface="+mj-ea"/>
                <a:cs typeface="Calibri" panose="020F0502020204030204" pitchFamily="34" charset="0"/>
              </a:rPr>
              <a:t>millones de clientes</a:t>
            </a:r>
            <a:endParaRPr lang="es-ES" sz="1400" b="1" dirty="0">
              <a:solidFill>
                <a:schemeClr val="tx1"/>
              </a:solidFill>
              <a:latin typeface="+mj-lt"/>
              <a:ea typeface="+mj-ea"/>
              <a:cs typeface="Calibri" panose="020F0502020204030204" pitchFamily="34" charset="0"/>
            </a:endParaRPr>
          </a:p>
        </p:txBody>
      </p:sp>
      <p:grpSp>
        <p:nvGrpSpPr>
          <p:cNvPr id="13" name="2 Grupo"/>
          <p:cNvGrpSpPr>
            <a:grpSpLocks/>
          </p:cNvGrpSpPr>
          <p:nvPr/>
        </p:nvGrpSpPr>
        <p:grpSpPr bwMode="auto">
          <a:xfrm>
            <a:off x="2918943" y="4387998"/>
            <a:ext cx="1555750" cy="1441450"/>
            <a:chOff x="2751776" y="3667918"/>
            <a:chExt cx="1554743" cy="1440045"/>
          </a:xfrm>
        </p:grpSpPr>
        <p:sp>
          <p:nvSpPr>
            <p:cNvPr id="14" name="13 Elipse"/>
            <p:cNvSpPr>
              <a:spLocks noChangeAspect="1"/>
            </p:cNvSpPr>
            <p:nvPr/>
          </p:nvSpPr>
          <p:spPr bwMode="auto">
            <a:xfrm>
              <a:off x="2751779" y="3667918"/>
              <a:ext cx="1554740" cy="1440045"/>
            </a:xfrm>
            <a:prstGeom prst="ellipse">
              <a:avLst/>
            </a:prstGeom>
            <a:solidFill>
              <a:srgbClr val="04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15" name="14 Rectángulo"/>
            <p:cNvSpPr>
              <a:spLocks noChangeArrowheads="1"/>
            </p:cNvSpPr>
            <p:nvPr/>
          </p:nvSpPr>
          <p:spPr bwMode="auto">
            <a:xfrm>
              <a:off x="2751776" y="3926261"/>
              <a:ext cx="1554743" cy="923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sz="5400" dirty="0">
                <a:solidFill>
                  <a:srgbClr val="FFFFFF"/>
                </a:solidFill>
                <a:latin typeface="Calibri" panose="020F0502020204030204" pitchFamily="34" charset="0"/>
                <a:cs typeface="Calibri" panose="020F0502020204030204" pitchFamily="34" charset="0"/>
              </a:endParaRPr>
            </a:p>
          </p:txBody>
        </p:sp>
      </p:grpSp>
      <p:sp>
        <p:nvSpPr>
          <p:cNvPr id="16" name="15 Rectángulo"/>
          <p:cNvSpPr/>
          <p:nvPr/>
        </p:nvSpPr>
        <p:spPr bwMode="auto">
          <a:xfrm>
            <a:off x="2652243" y="5673873"/>
            <a:ext cx="2089150" cy="779463"/>
          </a:xfrm>
          <a:prstGeom prst="rect">
            <a:avLst/>
          </a:prstGeom>
        </p:spPr>
        <p:txBody>
          <a:bodyPr anchor="ctr" anchorCtr="1"/>
          <a:lstStyle/>
          <a:p>
            <a:pPr algn="ctr" eaLnBrk="0" hangingPunct="0">
              <a:defRPr/>
            </a:pPr>
            <a:r>
              <a:rPr lang="es-ES_tradnl" sz="1400" b="1" dirty="0" smtClean="0">
                <a:latin typeface="+mj-lt"/>
                <a:ea typeface="+mj-ea"/>
                <a:cs typeface="Calibri" panose="020F0502020204030204" pitchFamily="34" charset="0"/>
              </a:rPr>
              <a:t>Ton</a:t>
            </a:r>
          </a:p>
          <a:p>
            <a:pPr algn="ctr" eaLnBrk="0" hangingPunct="0">
              <a:defRPr/>
            </a:pPr>
            <a:r>
              <a:rPr lang="es-ES_tradnl" sz="1400" b="1" dirty="0" smtClean="0">
                <a:solidFill>
                  <a:schemeClr val="tx1"/>
                </a:solidFill>
                <a:latin typeface="+mj-lt"/>
                <a:ea typeface="+mj-ea"/>
                <a:cs typeface="Calibri" panose="020F0502020204030204" pitchFamily="34" charset="0"/>
              </a:rPr>
              <a:t>RAEE</a:t>
            </a:r>
            <a:endParaRPr lang="es-ES" sz="1400" b="1" dirty="0">
              <a:solidFill>
                <a:schemeClr val="tx1"/>
              </a:solidFill>
              <a:latin typeface="+mj-lt"/>
              <a:ea typeface="+mj-ea"/>
              <a:cs typeface="Calibri" panose="020F0502020204030204" pitchFamily="34" charset="0"/>
            </a:endParaRPr>
          </a:p>
        </p:txBody>
      </p:sp>
      <p:sp>
        <p:nvSpPr>
          <p:cNvPr id="17" name="13 Elipse"/>
          <p:cNvSpPr>
            <a:spLocks noChangeAspect="1"/>
          </p:cNvSpPr>
          <p:nvPr/>
        </p:nvSpPr>
        <p:spPr bwMode="auto">
          <a:xfrm>
            <a:off x="6230468" y="4387998"/>
            <a:ext cx="1554162" cy="1441450"/>
          </a:xfrm>
          <a:prstGeom prst="ellipse">
            <a:avLst/>
          </a:prstGeom>
          <a:solidFill>
            <a:srgbClr val="04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18" name="14 Rectángulo"/>
          <p:cNvSpPr>
            <a:spLocks noChangeArrowheads="1"/>
          </p:cNvSpPr>
          <p:nvPr/>
        </p:nvSpPr>
        <p:spPr bwMode="auto">
          <a:xfrm>
            <a:off x="6230468" y="4646761"/>
            <a:ext cx="155416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4400" b="1" dirty="0">
                <a:solidFill>
                  <a:srgbClr val="FFFFFF"/>
                </a:solidFill>
                <a:latin typeface="Calibri" panose="020F0502020204030204" pitchFamily="34" charset="0"/>
                <a:cs typeface="Calibri" panose="020F0502020204030204" pitchFamily="34" charset="0"/>
              </a:rPr>
              <a:t>1.7</a:t>
            </a:r>
            <a:endParaRPr lang="es-ES" altLang="es-ES" sz="4400" dirty="0">
              <a:solidFill>
                <a:srgbClr val="FFFFFF"/>
              </a:solidFill>
              <a:latin typeface="Calibri" panose="020F0502020204030204" pitchFamily="34" charset="0"/>
              <a:cs typeface="Calibri" panose="020F0502020204030204" pitchFamily="34" charset="0"/>
            </a:endParaRPr>
          </a:p>
        </p:txBody>
      </p:sp>
      <p:sp>
        <p:nvSpPr>
          <p:cNvPr id="19" name="18 Rectángulo"/>
          <p:cNvSpPr/>
          <p:nvPr/>
        </p:nvSpPr>
        <p:spPr bwMode="auto">
          <a:xfrm>
            <a:off x="5963768" y="5673873"/>
            <a:ext cx="2089150" cy="779463"/>
          </a:xfrm>
          <a:prstGeom prst="rect">
            <a:avLst/>
          </a:prstGeom>
        </p:spPr>
        <p:txBody>
          <a:bodyPr anchor="ctr" anchorCtr="1"/>
          <a:lstStyle/>
          <a:p>
            <a:pPr algn="l" eaLnBrk="0" hangingPunct="0">
              <a:defRPr/>
            </a:pPr>
            <a:r>
              <a:rPr lang="es-ES_tradnl" sz="1400" b="1" dirty="0">
                <a:solidFill>
                  <a:schemeClr val="tx1"/>
                </a:solidFill>
                <a:latin typeface="+mj-lt"/>
                <a:ea typeface="+mj-ea"/>
                <a:cs typeface="Calibri" panose="020F0502020204030204" pitchFamily="34" charset="0"/>
              </a:rPr>
              <a:t>MTCO2eq</a:t>
            </a:r>
            <a:endParaRPr lang="es-ES" sz="1400" b="1" dirty="0">
              <a:solidFill>
                <a:schemeClr val="tx1"/>
              </a:solidFill>
              <a:latin typeface="+mj-lt"/>
              <a:ea typeface="+mj-ea"/>
              <a:cs typeface="Calibri" panose="020F0502020204030204" pitchFamily="34" charset="0"/>
            </a:endParaRPr>
          </a:p>
        </p:txBody>
      </p:sp>
      <p:sp>
        <p:nvSpPr>
          <p:cNvPr id="20" name="13 Elipse"/>
          <p:cNvSpPr>
            <a:spLocks noChangeAspect="1"/>
          </p:cNvSpPr>
          <p:nvPr/>
        </p:nvSpPr>
        <p:spPr bwMode="auto">
          <a:xfrm>
            <a:off x="4574705" y="4387998"/>
            <a:ext cx="1554163" cy="1441450"/>
          </a:xfrm>
          <a:prstGeom prst="ellipse">
            <a:avLst/>
          </a:prstGeom>
          <a:solidFill>
            <a:srgbClr val="04CCD6"/>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es-ES" altLang="es-ES" u="sng">
              <a:solidFill>
                <a:srgbClr val="000000"/>
              </a:solidFill>
              <a:latin typeface="Calibri" panose="020F0502020204030204" pitchFamily="34" charset="0"/>
              <a:cs typeface="Calibri" panose="020F0502020204030204" pitchFamily="34" charset="0"/>
            </a:endParaRPr>
          </a:p>
        </p:txBody>
      </p:sp>
      <p:sp>
        <p:nvSpPr>
          <p:cNvPr id="21" name="14 Rectángulo"/>
          <p:cNvSpPr>
            <a:spLocks noChangeArrowheads="1"/>
          </p:cNvSpPr>
          <p:nvPr/>
        </p:nvSpPr>
        <p:spPr bwMode="auto">
          <a:xfrm>
            <a:off x="4574705" y="4646761"/>
            <a:ext cx="15541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4400" b="1" dirty="0">
                <a:solidFill>
                  <a:srgbClr val="FFFFFF"/>
                </a:solidFill>
                <a:latin typeface="Calibri" panose="020F0502020204030204" pitchFamily="34" charset="0"/>
                <a:cs typeface="Calibri" panose="020F0502020204030204" pitchFamily="34" charset="0"/>
              </a:rPr>
              <a:t>5.8</a:t>
            </a:r>
            <a:endParaRPr lang="es-ES" altLang="es-ES" sz="4400" dirty="0">
              <a:solidFill>
                <a:srgbClr val="FFFFFF"/>
              </a:solidFill>
              <a:latin typeface="Calibri" panose="020F0502020204030204" pitchFamily="34" charset="0"/>
              <a:cs typeface="Calibri" panose="020F0502020204030204" pitchFamily="34" charset="0"/>
            </a:endParaRPr>
          </a:p>
        </p:txBody>
      </p:sp>
      <p:sp>
        <p:nvSpPr>
          <p:cNvPr id="22" name="21 Rectángulo"/>
          <p:cNvSpPr/>
          <p:nvPr/>
        </p:nvSpPr>
        <p:spPr bwMode="auto">
          <a:xfrm>
            <a:off x="4308005" y="5673873"/>
            <a:ext cx="2089150" cy="779463"/>
          </a:xfrm>
          <a:prstGeom prst="rect">
            <a:avLst/>
          </a:prstGeom>
        </p:spPr>
        <p:txBody>
          <a:bodyPr anchor="ctr" anchorCtr="1"/>
          <a:lstStyle/>
          <a:p>
            <a:pPr algn="l" eaLnBrk="0" hangingPunct="0">
              <a:defRPr/>
            </a:pPr>
            <a:r>
              <a:rPr lang="es-ES_tradnl" sz="1400" b="1" dirty="0" err="1">
                <a:solidFill>
                  <a:schemeClr val="tx1"/>
                </a:solidFill>
                <a:latin typeface="+mj-lt"/>
                <a:ea typeface="+mj-ea"/>
                <a:cs typeface="Calibri" panose="020F0502020204030204" pitchFamily="34" charset="0"/>
              </a:rPr>
              <a:t>TWh</a:t>
            </a:r>
            <a:endParaRPr lang="es-ES" sz="1400" b="1" dirty="0">
              <a:solidFill>
                <a:schemeClr val="tx1"/>
              </a:solidFill>
              <a:latin typeface="+mj-lt"/>
              <a:ea typeface="+mj-ea"/>
              <a:cs typeface="Calibri" panose="020F0502020204030204" pitchFamily="34" charset="0"/>
            </a:endParaRPr>
          </a:p>
        </p:txBody>
      </p:sp>
      <p:sp>
        <p:nvSpPr>
          <p:cNvPr id="23" name="22 Elipse"/>
          <p:cNvSpPr>
            <a:spLocks noChangeAspect="1"/>
          </p:cNvSpPr>
          <p:nvPr/>
        </p:nvSpPr>
        <p:spPr bwMode="auto">
          <a:xfrm>
            <a:off x="1261593" y="4461023"/>
            <a:ext cx="1554162" cy="1439863"/>
          </a:xfrm>
          <a:prstGeom prst="ellipse">
            <a:avLst/>
          </a:prstGeom>
          <a:solidFill>
            <a:schemeClr val="bg1">
              <a:lumMod val="95000"/>
              <a:alpha val="70000"/>
            </a:schemeClr>
          </a:solidFill>
          <a:ln w="25400" cap="flat" cmpd="sng" algn="ctr">
            <a:solidFill>
              <a:schemeClr val="tx1"/>
            </a:solidFill>
            <a:prstDash val="solid"/>
            <a:round/>
            <a:headEnd type="none" w="med" len="med"/>
            <a:tailEnd type="none" w="med" len="med"/>
          </a:ln>
          <a:effectLst/>
        </p:spPr>
        <p:txBody>
          <a:bodyPr/>
          <a:lstStyle/>
          <a:p>
            <a:pPr>
              <a:defRPr/>
            </a:pPr>
            <a:endParaRPr lang="es-ES" u="sng">
              <a:latin typeface="Calibri" panose="020F0502020204030204" pitchFamily="34" charset="0"/>
              <a:cs typeface="Calibri" panose="020F0502020204030204" pitchFamily="34" charset="0"/>
            </a:endParaRPr>
          </a:p>
        </p:txBody>
      </p:sp>
      <p:sp>
        <p:nvSpPr>
          <p:cNvPr id="24" name="14 Rectángulo"/>
          <p:cNvSpPr>
            <a:spLocks noChangeArrowheads="1"/>
          </p:cNvSpPr>
          <p:nvPr/>
        </p:nvSpPr>
        <p:spPr bwMode="auto">
          <a:xfrm>
            <a:off x="1261593" y="4772173"/>
            <a:ext cx="155416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4400" b="1" dirty="0">
                <a:latin typeface="Calibri" panose="020F0502020204030204" pitchFamily="34" charset="0"/>
                <a:cs typeface="Calibri" panose="020F0502020204030204" pitchFamily="34" charset="0"/>
              </a:rPr>
              <a:t>2012</a:t>
            </a:r>
            <a:endParaRPr lang="es-ES" altLang="es-ES" sz="4400" dirty="0">
              <a:latin typeface="Calibri" panose="020F0502020204030204" pitchFamily="34" charset="0"/>
              <a:cs typeface="Calibri" panose="020F0502020204030204" pitchFamily="34" charset="0"/>
            </a:endParaRPr>
          </a:p>
        </p:txBody>
      </p:sp>
      <p:sp>
        <p:nvSpPr>
          <p:cNvPr id="30" name="29 Rectángulo"/>
          <p:cNvSpPr/>
          <p:nvPr/>
        </p:nvSpPr>
        <p:spPr bwMode="auto">
          <a:xfrm>
            <a:off x="1261591" y="3586311"/>
            <a:ext cx="1554163" cy="779462"/>
          </a:xfrm>
          <a:prstGeom prst="rect">
            <a:avLst/>
          </a:prstGeom>
        </p:spPr>
        <p:txBody>
          <a:bodyPr anchor="ctr" anchorCtr="1"/>
          <a:lstStyle/>
          <a:p>
            <a:pPr algn="ctr" eaLnBrk="0" hangingPunct="0">
              <a:defRPr/>
            </a:pPr>
            <a:r>
              <a:rPr lang="es-ES_tradnl" sz="1400" b="1" dirty="0" smtClean="0">
                <a:latin typeface="+mj-lt"/>
                <a:ea typeface="+mj-ea"/>
                <a:cs typeface="+mj-cs"/>
              </a:rPr>
              <a:t>Servicios TIC integrado</a:t>
            </a:r>
            <a:r>
              <a:rPr lang="es-ES_tradnl" sz="1400" b="1" dirty="0" smtClean="0">
                <a:solidFill>
                  <a:schemeClr val="tx1"/>
                </a:solidFill>
                <a:latin typeface="+mj-lt"/>
                <a:ea typeface="+mj-ea"/>
                <a:cs typeface="+mj-cs"/>
              </a:rPr>
              <a:t>s</a:t>
            </a:r>
            <a:endParaRPr lang="es-ES" sz="1400" b="1" dirty="0">
              <a:solidFill>
                <a:schemeClr val="tx1"/>
              </a:solidFill>
              <a:latin typeface="+mj-lt"/>
              <a:ea typeface="+mj-ea"/>
              <a:cs typeface="+mj-cs"/>
            </a:endParaRPr>
          </a:p>
        </p:txBody>
      </p:sp>
      <p:pic>
        <p:nvPicPr>
          <p:cNvPr id="31" name="Picture 4" descr="D:\TEX2104\Escritorio\icono-inalámbrico-de-las-comunicaciones-serie-azul-32220065.jpg"/>
          <p:cNvPicPr>
            <a:picLocks noChangeAspect="1" noChangeArrowheads="1"/>
          </p:cNvPicPr>
          <p:nvPr/>
        </p:nvPicPr>
        <p:blipFill rotWithShape="1">
          <a:blip r:embed="rId6" cstate="print">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p:blipFill>
        <p:spPr bwMode="auto">
          <a:xfrm rot="10800000" flipV="1">
            <a:off x="1579392" y="2359603"/>
            <a:ext cx="957402" cy="121420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TEX2104\Escritorio\lgo_telefonica_a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9872" y="116632"/>
            <a:ext cx="2226987" cy="740473"/>
          </a:xfrm>
          <a:prstGeom prst="rect">
            <a:avLst/>
          </a:prstGeom>
          <a:noFill/>
          <a:extLst>
            <a:ext uri="{909E8E84-426E-40DD-AFC4-6F175D3DCCD1}">
              <a14:hiddenFill xmlns:a14="http://schemas.microsoft.com/office/drawing/2010/main">
                <a:solidFill>
                  <a:srgbClr val="FFFFFF"/>
                </a:solidFill>
              </a14:hiddenFill>
            </a:ext>
          </a:extLst>
        </p:spPr>
      </p:pic>
      <p:sp>
        <p:nvSpPr>
          <p:cNvPr id="37" name="14 Rectángulo"/>
          <p:cNvSpPr>
            <a:spLocks noChangeArrowheads="1"/>
          </p:cNvSpPr>
          <p:nvPr/>
        </p:nvSpPr>
        <p:spPr bwMode="auto">
          <a:xfrm>
            <a:off x="2945666" y="4675783"/>
            <a:ext cx="15541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lr>
                <a:schemeClr val="tx2"/>
              </a:buClr>
              <a:buSzPct val="200000"/>
              <a:buChar char="•"/>
              <a:defRPr>
                <a:solidFill>
                  <a:schemeClr val="tx1"/>
                </a:solidFill>
                <a:latin typeface="Arial" panose="020B0604020202020204" pitchFamily="34" charset="0"/>
              </a:defRPr>
            </a:lvl1pPr>
            <a:lvl2pPr marL="742950" indent="-285750" algn="l"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defRPr>
            </a:lvl2pPr>
            <a:lvl3pPr marL="1143000" indent="-228600" algn="l" eaLnBrk="0" hangingPunct="0">
              <a:spcBef>
                <a:spcPct val="20000"/>
              </a:spcBef>
              <a:buClr>
                <a:schemeClr val="tx1"/>
              </a:buClr>
              <a:buChar char="•"/>
              <a:defRPr sz="1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es-ES_tradnl" altLang="es-ES" sz="4400" b="1" dirty="0" smtClean="0">
                <a:solidFill>
                  <a:srgbClr val="FFFFFF"/>
                </a:solidFill>
                <a:latin typeface="Calibri" panose="020F0502020204030204" pitchFamily="34" charset="0"/>
                <a:cs typeface="Calibri" panose="020F0502020204030204" pitchFamily="34" charset="0"/>
              </a:rPr>
              <a:t>2600</a:t>
            </a:r>
            <a:endParaRPr lang="es-ES" altLang="es-ES" sz="4400" dirty="0">
              <a:solidFill>
                <a:srgbClr val="FFFFFF"/>
              </a:solidFill>
              <a:latin typeface="Calibri" panose="020F0502020204030204" pitchFamily="34" charset="0"/>
              <a:cs typeface="Calibri" panose="020F0502020204030204" pitchFamily="34" charset="0"/>
            </a:endParaRPr>
          </a:p>
        </p:txBody>
      </p:sp>
      <p:pic>
        <p:nvPicPr>
          <p:cNvPr id="38"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6705" y="857105"/>
            <a:ext cx="8855999" cy="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92423551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70" name="AutoShape 4"/>
          <p:cNvSpPr>
            <a:spLocks/>
          </p:cNvSpPr>
          <p:nvPr/>
        </p:nvSpPr>
        <p:spPr bwMode="auto">
          <a:xfrm rot="10800000">
            <a:off x="3154363" y="2976563"/>
            <a:ext cx="2552700" cy="1603375"/>
          </a:xfrm>
          <a:prstGeom prst="triangle">
            <a:avLst>
              <a:gd name="adj" fmla="val 50000"/>
            </a:avLst>
          </a:prstGeom>
          <a:solidFill>
            <a:schemeClr val="bg1">
              <a:alpha val="32941"/>
            </a:schemeClr>
          </a:solidFill>
          <a:ln w="25400">
            <a:solidFill>
              <a:srgbClr val="FFFFFF">
                <a:alpha val="32941"/>
              </a:srgbClr>
            </a:solidFill>
            <a:round/>
            <a:headEnd/>
            <a:tailEnd/>
          </a:ln>
          <a:effectLst>
            <a:outerShdw algn="ctr" rotWithShape="0">
              <a:srgbClr val="54B2BE"/>
            </a:outerShdw>
          </a:effectLst>
        </p:spPr>
        <p:txBody>
          <a:bodyPr rot="10800000" lIns="0" tIns="0" rIns="0" bIns="0"/>
          <a:lstStyle>
            <a:lvl1pPr algn="l" eaLnBrk="0" hangingPunct="0">
              <a:spcBef>
                <a:spcPct val="20000"/>
              </a:spcBef>
              <a:buClr>
                <a:schemeClr val="tx2"/>
              </a:buClr>
              <a:buSzPct val="200000"/>
              <a:buChar char="•"/>
              <a:defRPr>
                <a:solidFill>
                  <a:schemeClr val="tx1"/>
                </a:solidFill>
                <a:latin typeface="Arial" pitchFamily="34" charset="0"/>
              </a:defRPr>
            </a:lvl1pPr>
            <a:lvl2pPr marL="742950" indent="-285750" algn="l"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eaLnBrk="0" hangingPunct="0">
              <a:spcBef>
                <a:spcPct val="20000"/>
              </a:spcBef>
              <a:buClr>
                <a:schemeClr val="tx1"/>
              </a:buClr>
              <a:buChar char="•"/>
              <a:defRPr sz="1400">
                <a:solidFill>
                  <a:schemeClr val="tx1"/>
                </a:solidFill>
                <a:latin typeface="Arial" pitchFamily="34" charset="0"/>
              </a:defRPr>
            </a:lvl3pPr>
            <a:lvl4pPr marL="1600200" indent="-228600" algn="l" eaLnBrk="0" hangingPunct="0">
              <a:spcBef>
                <a:spcPct val="20000"/>
              </a:spcBef>
              <a:buChar char="–"/>
              <a:defRPr sz="2000">
                <a:solidFill>
                  <a:schemeClr val="tx1"/>
                </a:solidFill>
                <a:latin typeface="Arial" pitchFamily="34" charset="0"/>
              </a:defRPr>
            </a:lvl4pPr>
            <a:lvl5pPr marL="2057400" indent="-228600" algn="l"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buClrTx/>
              <a:buSzTx/>
              <a:buFontTx/>
              <a:buNone/>
            </a:pPr>
            <a:endParaRPr lang="es-ES" altLang="es-ES" sz="1800">
              <a:solidFill>
                <a:srgbClr val="000000"/>
              </a:solidFill>
            </a:endParaRPr>
          </a:p>
        </p:txBody>
      </p:sp>
      <p:grpSp>
        <p:nvGrpSpPr>
          <p:cNvPr id="7171" name="Group 4"/>
          <p:cNvGrpSpPr>
            <a:grpSpLocks/>
          </p:cNvGrpSpPr>
          <p:nvPr/>
        </p:nvGrpSpPr>
        <p:grpSpPr bwMode="auto">
          <a:xfrm>
            <a:off x="5981700" y="3141663"/>
            <a:ext cx="2278063" cy="2198687"/>
            <a:chOff x="624" y="2341"/>
            <a:chExt cx="1133" cy="1276"/>
          </a:xfrm>
        </p:grpSpPr>
        <p:grpSp>
          <p:nvGrpSpPr>
            <p:cNvPr id="7186" name="Gruppe 137"/>
            <p:cNvGrpSpPr>
              <a:grpSpLocks/>
            </p:cNvGrpSpPr>
            <p:nvPr/>
          </p:nvGrpSpPr>
          <p:grpSpPr bwMode="auto">
            <a:xfrm>
              <a:off x="624" y="2341"/>
              <a:ext cx="1133" cy="1276"/>
              <a:chOff x="473201" y="2942956"/>
              <a:chExt cx="953523" cy="1036016"/>
            </a:xfrm>
          </p:grpSpPr>
          <p:sp>
            <p:nvSpPr>
              <p:cNvPr id="2" name="Ellipse 138"/>
              <p:cNvSpPr/>
              <p:nvPr/>
            </p:nvSpPr>
            <p:spPr bwMode="auto">
              <a:xfrm>
                <a:off x="517728" y="3793752"/>
                <a:ext cx="846720" cy="185220"/>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lvl1pPr algn="l">
                  <a:defRPr sz="2400">
                    <a:solidFill>
                      <a:schemeClr val="tx1"/>
                    </a:solidFill>
                    <a:latin typeface="TheSansCorrespondence" pitchFamily="34" charset="0"/>
                  </a:defRPr>
                </a:lvl1pPr>
                <a:lvl2pPr marL="37931725" indent="-37474525" algn="l">
                  <a:defRPr sz="2400">
                    <a:solidFill>
                      <a:schemeClr val="tx1"/>
                    </a:solidFill>
                    <a:latin typeface="TheSansCorrespondence" pitchFamily="34" charset="0"/>
                  </a:defRPr>
                </a:lvl2pPr>
                <a:lvl3pPr>
                  <a:defRPr sz="2400">
                    <a:solidFill>
                      <a:schemeClr val="tx1"/>
                    </a:solidFill>
                    <a:latin typeface="TheSansCorrespondence" pitchFamily="34" charset="0"/>
                  </a:defRPr>
                </a:lvl3pPr>
                <a:lvl4pPr>
                  <a:defRPr sz="2400">
                    <a:solidFill>
                      <a:schemeClr val="tx1"/>
                    </a:solidFill>
                    <a:latin typeface="TheSansCorrespondence" pitchFamily="34" charset="0"/>
                  </a:defRPr>
                </a:lvl4pPr>
                <a:lvl5pPr>
                  <a:defRPr sz="2400">
                    <a:solidFill>
                      <a:schemeClr val="tx1"/>
                    </a:solidFill>
                    <a:latin typeface="TheSansCorrespondence" pitchFamily="34" charset="0"/>
                  </a:defRPr>
                </a:lvl5pPr>
                <a:lvl6pPr marL="457200" eaLnBrk="0" fontAlgn="base" hangingPunct="0">
                  <a:spcBef>
                    <a:spcPct val="0"/>
                  </a:spcBef>
                  <a:spcAft>
                    <a:spcPct val="0"/>
                  </a:spcAft>
                  <a:defRPr sz="2400">
                    <a:solidFill>
                      <a:schemeClr val="tx1"/>
                    </a:solidFill>
                    <a:latin typeface="TheSansCorrespondence" pitchFamily="34" charset="0"/>
                  </a:defRPr>
                </a:lvl6pPr>
                <a:lvl7pPr marL="914400" eaLnBrk="0" fontAlgn="base" hangingPunct="0">
                  <a:spcBef>
                    <a:spcPct val="0"/>
                  </a:spcBef>
                  <a:spcAft>
                    <a:spcPct val="0"/>
                  </a:spcAft>
                  <a:defRPr sz="2400">
                    <a:solidFill>
                      <a:schemeClr val="tx1"/>
                    </a:solidFill>
                    <a:latin typeface="TheSansCorrespondence" pitchFamily="34" charset="0"/>
                  </a:defRPr>
                </a:lvl7pPr>
                <a:lvl8pPr marL="1371600" eaLnBrk="0" fontAlgn="base" hangingPunct="0">
                  <a:spcBef>
                    <a:spcPct val="0"/>
                  </a:spcBef>
                  <a:spcAft>
                    <a:spcPct val="0"/>
                  </a:spcAft>
                  <a:defRPr sz="2400">
                    <a:solidFill>
                      <a:schemeClr val="tx1"/>
                    </a:solidFill>
                    <a:latin typeface="TheSansCorrespondence" pitchFamily="34" charset="0"/>
                  </a:defRPr>
                </a:lvl8pPr>
                <a:lvl9pPr marL="1828800" eaLnBrk="0" fontAlgn="base" hangingPunct="0">
                  <a:spcBef>
                    <a:spcPct val="0"/>
                  </a:spcBef>
                  <a:spcAft>
                    <a:spcPct val="0"/>
                  </a:spcAft>
                  <a:defRPr sz="2400">
                    <a:solidFill>
                      <a:schemeClr val="tx1"/>
                    </a:solidFill>
                    <a:latin typeface="TheSansCorrespondence" pitchFamily="34" charset="0"/>
                  </a:defRPr>
                </a:lvl9pPr>
              </a:lstStyle>
              <a:p>
                <a:pPr algn="ctr">
                  <a:defRPr/>
                </a:pPr>
                <a:endParaRPr lang="en-US" sz="1200" smtClean="0">
                  <a:solidFill>
                    <a:srgbClr val="FFFFFF"/>
                  </a:solidFill>
                  <a:latin typeface="+mj-lt"/>
                </a:endParaRPr>
              </a:p>
            </p:txBody>
          </p:sp>
          <p:sp>
            <p:nvSpPr>
              <p:cNvPr id="5143" name="Ellipse 139"/>
              <p:cNvSpPr>
                <a:spLocks noChangeArrowheads="1"/>
              </p:cNvSpPr>
              <p:nvPr/>
            </p:nvSpPr>
            <p:spPr bwMode="auto">
              <a:xfrm>
                <a:off x="473201" y="2942956"/>
                <a:ext cx="953523" cy="952985"/>
              </a:xfrm>
              <a:prstGeom prst="ellipse">
                <a:avLst/>
              </a:prstGeom>
              <a:solidFill>
                <a:srgbClr val="44ACC4"/>
              </a:solidFill>
              <a:ln w="3175">
                <a:solidFill>
                  <a:schemeClr val="tx2"/>
                </a:solidFill>
                <a:miter lim="800000"/>
                <a:headEnd/>
                <a:tailEnd/>
              </a:ln>
            </p:spPr>
            <p:txBody>
              <a:bodyPr anchor="ctr"/>
              <a:lstStyle/>
              <a:p>
                <a:pPr indent="-342900" algn="ctr">
                  <a:buFont typeface="Calibri" pitchFamily="34" charset="0"/>
                  <a:buAutoNum type="arabicPeriod"/>
                  <a:defRPr/>
                </a:pPr>
                <a:endParaRPr lang="en-US">
                  <a:latin typeface="+mj-lt"/>
                </a:endParaRPr>
              </a:p>
            </p:txBody>
          </p:sp>
          <p:sp>
            <p:nvSpPr>
              <p:cNvPr id="5144" name="Ellipse 140"/>
              <p:cNvSpPr>
                <a:spLocks noChangeArrowheads="1"/>
              </p:cNvSpPr>
              <p:nvPr/>
            </p:nvSpPr>
            <p:spPr bwMode="auto">
              <a:xfrm>
                <a:off x="590149" y="2966145"/>
                <a:ext cx="698364" cy="516138"/>
              </a:xfrm>
              <a:prstGeom prst="ellipse">
                <a:avLst/>
              </a:prstGeom>
              <a:gradFill rotWithShape="1">
                <a:gsLst>
                  <a:gs pos="0">
                    <a:srgbClr val="FFFCF9">
                      <a:alpha val="76999"/>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defRPr/>
                </a:pPr>
                <a:endParaRPr lang="en-US">
                  <a:solidFill>
                    <a:srgbClr val="FFFFFF"/>
                  </a:solidFill>
                  <a:latin typeface="+mj-lt"/>
                </a:endParaRPr>
              </a:p>
            </p:txBody>
          </p:sp>
        </p:grpSp>
        <p:sp>
          <p:nvSpPr>
            <p:cNvPr id="5139" name="Rectangle 9"/>
            <p:cNvSpPr>
              <a:spLocks noChangeArrowheads="1"/>
            </p:cNvSpPr>
            <p:nvPr/>
          </p:nvSpPr>
          <p:spPr bwMode="auto">
            <a:xfrm>
              <a:off x="683" y="2424"/>
              <a:ext cx="994" cy="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9" tIns="48324" rIns="96649" bIns="48324">
              <a:spAutoFit/>
            </a:bodyPr>
            <a:lstStyle/>
            <a:p>
              <a:pPr algn="ctr" defTabSz="968375">
                <a:defRPr/>
              </a:pPr>
              <a:r>
                <a:rPr lang="en-US" dirty="0" err="1">
                  <a:latin typeface="+mj-lt"/>
                  <a:cs typeface="Arial" pitchFamily="34" charset="0"/>
                </a:rPr>
                <a:t>Nuevas</a:t>
              </a:r>
              <a:r>
                <a:rPr lang="en-US" dirty="0">
                  <a:latin typeface="+mj-lt"/>
                  <a:cs typeface="Arial" pitchFamily="34" charset="0"/>
                </a:rPr>
                <a:t> </a:t>
              </a:r>
              <a:r>
                <a:rPr lang="en-US" dirty="0" err="1">
                  <a:latin typeface="+mj-lt"/>
                  <a:cs typeface="Arial" pitchFamily="34" charset="0"/>
                </a:rPr>
                <a:t>oportunidades</a:t>
              </a:r>
              <a:r>
                <a:rPr lang="en-US" dirty="0">
                  <a:latin typeface="+mj-lt"/>
                  <a:cs typeface="Arial" pitchFamily="34" charset="0"/>
                </a:rPr>
                <a:t>: </a:t>
              </a:r>
              <a:r>
                <a:rPr lang="en-US" dirty="0" err="1">
                  <a:latin typeface="+mj-lt"/>
                  <a:cs typeface="Arial" pitchFamily="34" charset="0"/>
                </a:rPr>
                <a:t>fuentes</a:t>
              </a:r>
              <a:r>
                <a:rPr lang="en-US" dirty="0">
                  <a:latin typeface="+mj-lt"/>
                  <a:cs typeface="Arial" pitchFamily="34" charset="0"/>
                </a:rPr>
                <a:t> de </a:t>
              </a:r>
              <a:r>
                <a:rPr lang="en-US" dirty="0" err="1">
                  <a:latin typeface="+mj-lt"/>
                  <a:cs typeface="Arial" pitchFamily="34" charset="0"/>
                </a:rPr>
                <a:t>ingreso</a:t>
              </a:r>
              <a:r>
                <a:rPr lang="en-US" dirty="0">
                  <a:latin typeface="+mj-lt"/>
                  <a:cs typeface="Arial" pitchFamily="34" charset="0"/>
                </a:rPr>
                <a:t> y </a:t>
              </a:r>
              <a:r>
                <a:rPr lang="en-US" dirty="0" err="1">
                  <a:latin typeface="+mj-lt"/>
                  <a:cs typeface="Arial" pitchFamily="34" charset="0"/>
                </a:rPr>
                <a:t>servicio</a:t>
              </a:r>
              <a:r>
                <a:rPr lang="en-US" dirty="0">
                  <a:latin typeface="+mj-lt"/>
                  <a:cs typeface="Arial" pitchFamily="34" charset="0"/>
                </a:rPr>
                <a:t> al </a:t>
              </a:r>
              <a:r>
                <a:rPr lang="en-US" dirty="0" err="1" smtClean="0">
                  <a:latin typeface="+mj-lt"/>
                  <a:cs typeface="Arial" pitchFamily="34" charset="0"/>
                </a:rPr>
                <a:t>cliente</a:t>
              </a:r>
              <a:endParaRPr lang="en-US" dirty="0">
                <a:solidFill>
                  <a:schemeClr val="bg1"/>
                </a:solidFill>
                <a:latin typeface="+mj-lt"/>
                <a:cs typeface="Arial" pitchFamily="34" charset="0"/>
              </a:endParaRPr>
            </a:p>
          </p:txBody>
        </p:sp>
      </p:grpSp>
      <p:grpSp>
        <p:nvGrpSpPr>
          <p:cNvPr id="7172" name="Group 12"/>
          <p:cNvGrpSpPr>
            <a:grpSpLocks/>
          </p:cNvGrpSpPr>
          <p:nvPr/>
        </p:nvGrpSpPr>
        <p:grpSpPr bwMode="auto">
          <a:xfrm>
            <a:off x="976313" y="3141663"/>
            <a:ext cx="2295525" cy="2198687"/>
            <a:chOff x="624" y="2341"/>
            <a:chExt cx="1133" cy="1276"/>
          </a:xfrm>
        </p:grpSpPr>
        <p:grpSp>
          <p:nvGrpSpPr>
            <p:cNvPr id="7179" name="Gruppe 137"/>
            <p:cNvGrpSpPr>
              <a:grpSpLocks/>
            </p:cNvGrpSpPr>
            <p:nvPr/>
          </p:nvGrpSpPr>
          <p:grpSpPr bwMode="auto">
            <a:xfrm>
              <a:off x="624" y="2341"/>
              <a:ext cx="1133" cy="1276"/>
              <a:chOff x="473201" y="2942956"/>
              <a:chExt cx="953523" cy="1036016"/>
            </a:xfrm>
          </p:grpSpPr>
          <p:sp>
            <p:nvSpPr>
              <p:cNvPr id="139" name="Ellipse 138"/>
              <p:cNvSpPr/>
              <p:nvPr/>
            </p:nvSpPr>
            <p:spPr bwMode="auto">
              <a:xfrm>
                <a:off x="517728" y="3793752"/>
                <a:ext cx="846720" cy="185220"/>
              </a:xfrm>
              <a:prstGeom prst="ellipse">
                <a:avLst/>
              </a:prstGeom>
              <a:gradFill flip="none" rotWithShape="1">
                <a:gsLst>
                  <a:gs pos="100000">
                    <a:srgbClr val="FFFFFF">
                      <a:alpha val="0"/>
                    </a:srgbClr>
                  </a:gs>
                  <a:gs pos="0">
                    <a:srgbClr val="E6E6E6">
                      <a:lumMod val="10000"/>
                      <a:alpha val="76000"/>
                    </a:srgbClr>
                  </a:gs>
                </a:gsLst>
                <a:path path="shape">
                  <a:fillToRect l="50000" t="50000" r="50000" b="50000"/>
                </a:path>
                <a:tileRect/>
              </a:gradFill>
              <a:ln w="9525" cap="flat" cmpd="sng" algn="ctr">
                <a:noFill/>
                <a:prstDash val="solid"/>
              </a:ln>
              <a:effectLst/>
            </p:spPr>
            <p:txBody>
              <a:bodyPr anchor="ctr"/>
              <a:lstStyle>
                <a:lvl1pPr algn="l">
                  <a:defRPr sz="2400">
                    <a:solidFill>
                      <a:schemeClr val="tx1"/>
                    </a:solidFill>
                    <a:latin typeface="TheSansCorrespondence" pitchFamily="34" charset="0"/>
                  </a:defRPr>
                </a:lvl1pPr>
                <a:lvl2pPr marL="37931725" indent="-37474525" algn="l">
                  <a:defRPr sz="2400">
                    <a:solidFill>
                      <a:schemeClr val="tx1"/>
                    </a:solidFill>
                    <a:latin typeface="TheSansCorrespondence" pitchFamily="34" charset="0"/>
                  </a:defRPr>
                </a:lvl2pPr>
                <a:lvl3pPr>
                  <a:defRPr sz="2400">
                    <a:solidFill>
                      <a:schemeClr val="tx1"/>
                    </a:solidFill>
                    <a:latin typeface="TheSansCorrespondence" pitchFamily="34" charset="0"/>
                  </a:defRPr>
                </a:lvl3pPr>
                <a:lvl4pPr>
                  <a:defRPr sz="2400">
                    <a:solidFill>
                      <a:schemeClr val="tx1"/>
                    </a:solidFill>
                    <a:latin typeface="TheSansCorrespondence" pitchFamily="34" charset="0"/>
                  </a:defRPr>
                </a:lvl4pPr>
                <a:lvl5pPr>
                  <a:defRPr sz="2400">
                    <a:solidFill>
                      <a:schemeClr val="tx1"/>
                    </a:solidFill>
                    <a:latin typeface="TheSansCorrespondence" pitchFamily="34" charset="0"/>
                  </a:defRPr>
                </a:lvl5pPr>
                <a:lvl6pPr marL="457200" eaLnBrk="0" fontAlgn="base" hangingPunct="0">
                  <a:spcBef>
                    <a:spcPct val="0"/>
                  </a:spcBef>
                  <a:spcAft>
                    <a:spcPct val="0"/>
                  </a:spcAft>
                  <a:defRPr sz="2400">
                    <a:solidFill>
                      <a:schemeClr val="tx1"/>
                    </a:solidFill>
                    <a:latin typeface="TheSansCorrespondence" pitchFamily="34" charset="0"/>
                  </a:defRPr>
                </a:lvl6pPr>
                <a:lvl7pPr marL="914400" eaLnBrk="0" fontAlgn="base" hangingPunct="0">
                  <a:spcBef>
                    <a:spcPct val="0"/>
                  </a:spcBef>
                  <a:spcAft>
                    <a:spcPct val="0"/>
                  </a:spcAft>
                  <a:defRPr sz="2400">
                    <a:solidFill>
                      <a:schemeClr val="tx1"/>
                    </a:solidFill>
                    <a:latin typeface="TheSansCorrespondence" pitchFamily="34" charset="0"/>
                  </a:defRPr>
                </a:lvl7pPr>
                <a:lvl8pPr marL="1371600" eaLnBrk="0" fontAlgn="base" hangingPunct="0">
                  <a:spcBef>
                    <a:spcPct val="0"/>
                  </a:spcBef>
                  <a:spcAft>
                    <a:spcPct val="0"/>
                  </a:spcAft>
                  <a:defRPr sz="2400">
                    <a:solidFill>
                      <a:schemeClr val="tx1"/>
                    </a:solidFill>
                    <a:latin typeface="TheSansCorrespondence" pitchFamily="34" charset="0"/>
                  </a:defRPr>
                </a:lvl8pPr>
                <a:lvl9pPr marL="1828800" eaLnBrk="0" fontAlgn="base" hangingPunct="0">
                  <a:spcBef>
                    <a:spcPct val="0"/>
                  </a:spcBef>
                  <a:spcAft>
                    <a:spcPct val="0"/>
                  </a:spcAft>
                  <a:defRPr sz="2400">
                    <a:solidFill>
                      <a:schemeClr val="tx1"/>
                    </a:solidFill>
                    <a:latin typeface="TheSansCorrespondence" pitchFamily="34" charset="0"/>
                  </a:defRPr>
                </a:lvl9pPr>
              </a:lstStyle>
              <a:p>
                <a:pPr algn="ctr">
                  <a:defRPr/>
                </a:pPr>
                <a:endParaRPr lang="en-US" sz="1200" smtClean="0">
                  <a:solidFill>
                    <a:srgbClr val="FFFFFF"/>
                  </a:solidFill>
                  <a:latin typeface="+mj-lt"/>
                </a:endParaRPr>
              </a:p>
            </p:txBody>
          </p:sp>
          <p:sp>
            <p:nvSpPr>
              <p:cNvPr id="5136" name="Ellipse 139"/>
              <p:cNvSpPr>
                <a:spLocks noChangeArrowheads="1"/>
              </p:cNvSpPr>
              <p:nvPr/>
            </p:nvSpPr>
            <p:spPr bwMode="auto">
              <a:xfrm>
                <a:off x="473201" y="2942956"/>
                <a:ext cx="953523" cy="952985"/>
              </a:xfrm>
              <a:prstGeom prst="ellipse">
                <a:avLst/>
              </a:prstGeom>
              <a:solidFill>
                <a:srgbClr val="44ACC4"/>
              </a:solidFill>
              <a:ln w="3175">
                <a:solidFill>
                  <a:schemeClr val="tx2"/>
                </a:solidFill>
                <a:miter lim="800000"/>
                <a:headEnd/>
                <a:tailEnd/>
              </a:ln>
            </p:spPr>
            <p:txBody>
              <a:bodyPr anchor="ctr"/>
              <a:lstStyle/>
              <a:p>
                <a:pPr indent="-342900" algn="ctr">
                  <a:buFont typeface="Calibri" pitchFamily="34" charset="0"/>
                  <a:buAutoNum type="arabicPeriod"/>
                  <a:defRPr/>
                </a:pPr>
                <a:endParaRPr lang="en-US">
                  <a:latin typeface="+mj-lt"/>
                </a:endParaRPr>
              </a:p>
            </p:txBody>
          </p:sp>
          <p:sp>
            <p:nvSpPr>
              <p:cNvPr id="5137" name="Ellipse 140"/>
              <p:cNvSpPr>
                <a:spLocks noChangeArrowheads="1"/>
              </p:cNvSpPr>
              <p:nvPr/>
            </p:nvSpPr>
            <p:spPr bwMode="auto">
              <a:xfrm>
                <a:off x="589918" y="2966145"/>
                <a:ext cx="698327" cy="516138"/>
              </a:xfrm>
              <a:prstGeom prst="ellipse">
                <a:avLst/>
              </a:prstGeom>
              <a:gradFill rotWithShape="1">
                <a:gsLst>
                  <a:gs pos="0">
                    <a:srgbClr val="FFFCF9">
                      <a:alpha val="76999"/>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defRPr/>
                </a:pPr>
                <a:endParaRPr lang="en-US">
                  <a:solidFill>
                    <a:srgbClr val="FFFFFF"/>
                  </a:solidFill>
                  <a:latin typeface="+mj-lt"/>
                </a:endParaRPr>
              </a:p>
            </p:txBody>
          </p:sp>
        </p:grpSp>
        <p:sp>
          <p:nvSpPr>
            <p:cNvPr id="5132" name="Rectangle 9"/>
            <p:cNvSpPr>
              <a:spLocks noChangeArrowheads="1"/>
            </p:cNvSpPr>
            <p:nvPr/>
          </p:nvSpPr>
          <p:spPr bwMode="auto">
            <a:xfrm>
              <a:off x="672" y="2591"/>
              <a:ext cx="994" cy="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9" tIns="48324" rIns="96649" bIns="48324">
              <a:spAutoFit/>
            </a:bodyPr>
            <a:lstStyle/>
            <a:p>
              <a:pPr algn="ctr" defTabSz="968375">
                <a:defRPr/>
              </a:pPr>
              <a:r>
                <a:rPr lang="en-US" dirty="0">
                  <a:latin typeface="+mj-lt"/>
                  <a:cs typeface="Arial" pitchFamily="34" charset="0"/>
                </a:rPr>
                <a:t>Control de </a:t>
              </a:r>
              <a:r>
                <a:rPr lang="en-US" dirty="0" err="1">
                  <a:latin typeface="+mj-lt"/>
                  <a:cs typeface="Arial" pitchFamily="34" charset="0"/>
                </a:rPr>
                <a:t>riesgos</a:t>
              </a:r>
              <a:endParaRPr lang="en-US" dirty="0">
                <a:latin typeface="+mj-lt"/>
                <a:cs typeface="Arial" pitchFamily="34" charset="0"/>
              </a:endParaRPr>
            </a:p>
            <a:p>
              <a:pPr algn="ctr" defTabSz="968375">
                <a:defRPr/>
              </a:pPr>
              <a:r>
                <a:rPr lang="en-US" dirty="0" err="1" smtClean="0">
                  <a:latin typeface="+mj-lt"/>
                  <a:cs typeface="Arial" pitchFamily="34" charset="0"/>
                </a:rPr>
                <a:t>ambientales</a:t>
              </a:r>
              <a:endParaRPr lang="en-US" dirty="0">
                <a:latin typeface="+mj-lt"/>
                <a:cs typeface="Arial" pitchFamily="34" charset="0"/>
              </a:endParaRPr>
            </a:p>
          </p:txBody>
        </p:sp>
      </p:grpSp>
      <p:sp>
        <p:nvSpPr>
          <p:cNvPr id="7173" name="AutoShape 21"/>
          <p:cNvSpPr>
            <a:spLocks noChangeArrowheads="1"/>
          </p:cNvSpPr>
          <p:nvPr/>
        </p:nvSpPr>
        <p:spPr bwMode="auto">
          <a:xfrm>
            <a:off x="900113" y="1417769"/>
            <a:ext cx="7359650" cy="1325431"/>
          </a:xfrm>
          <a:prstGeom prst="roundRect">
            <a:avLst>
              <a:gd name="adj" fmla="val 4995"/>
            </a:avLst>
          </a:prstGeom>
          <a:solidFill>
            <a:schemeClr val="accent2">
              <a:alpha val="65097"/>
            </a:schemeClr>
          </a:solidFill>
          <a:ln w="28575">
            <a:solidFill>
              <a:srgbClr val="DDDDDD"/>
            </a:solidFill>
            <a:round/>
            <a:headEnd/>
            <a:tailEnd/>
          </a:ln>
          <a:effectLst>
            <a:outerShdw dist="107763" dir="18900000" algn="ctr" rotWithShape="0">
              <a:schemeClr val="bg2">
                <a:alpha val="50000"/>
              </a:schemeClr>
            </a:outerShdw>
          </a:effectLst>
        </p:spPr>
        <p:txBody>
          <a:bodyPr wrap="none" anchor="ctr"/>
          <a:lstStyle>
            <a:lvl1pPr algn="l" eaLnBrk="0" hangingPunct="0">
              <a:spcBef>
                <a:spcPct val="20000"/>
              </a:spcBef>
              <a:buClr>
                <a:schemeClr val="tx2"/>
              </a:buClr>
              <a:buSzPct val="200000"/>
              <a:buChar char="•"/>
              <a:defRPr>
                <a:solidFill>
                  <a:schemeClr val="tx1"/>
                </a:solidFill>
                <a:latin typeface="Arial" pitchFamily="34" charset="0"/>
              </a:defRPr>
            </a:lvl1pPr>
            <a:lvl2pPr marL="742950" indent="-285750" algn="l"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eaLnBrk="0" hangingPunct="0">
              <a:spcBef>
                <a:spcPct val="20000"/>
              </a:spcBef>
              <a:buClr>
                <a:schemeClr val="tx1"/>
              </a:buClr>
              <a:buChar char="•"/>
              <a:defRPr sz="1400">
                <a:solidFill>
                  <a:schemeClr val="tx1"/>
                </a:solidFill>
                <a:latin typeface="Arial" pitchFamily="34" charset="0"/>
              </a:defRPr>
            </a:lvl3pPr>
            <a:lvl4pPr marL="1600200" indent="-228600" algn="l" eaLnBrk="0" hangingPunct="0">
              <a:spcBef>
                <a:spcPct val="20000"/>
              </a:spcBef>
              <a:buChar char="–"/>
              <a:defRPr sz="2000">
                <a:solidFill>
                  <a:schemeClr val="tx1"/>
                </a:solidFill>
                <a:latin typeface="Arial" pitchFamily="34" charset="0"/>
              </a:defRPr>
            </a:lvl4pPr>
            <a:lvl5pPr marL="2057400" indent="-228600" algn="l"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buClrTx/>
              <a:buSzTx/>
              <a:buFontTx/>
              <a:buNone/>
            </a:pPr>
            <a:endParaRPr lang="es-ES" altLang="es-ES" sz="3200">
              <a:solidFill>
                <a:schemeClr val="bg1"/>
              </a:solidFill>
            </a:endParaRPr>
          </a:p>
        </p:txBody>
      </p:sp>
      <p:sp>
        <p:nvSpPr>
          <p:cNvPr id="5129" name="Rectangle 22"/>
          <p:cNvSpPr>
            <a:spLocks noChangeArrowheads="1"/>
          </p:cNvSpPr>
          <p:nvPr/>
        </p:nvSpPr>
        <p:spPr bwMode="auto">
          <a:xfrm>
            <a:off x="1160463" y="1649597"/>
            <a:ext cx="683895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a:defRPr/>
            </a:pPr>
            <a:r>
              <a:rPr lang="en-US" sz="2800" dirty="0" err="1">
                <a:solidFill>
                  <a:schemeClr val="tx1"/>
                </a:solidFill>
                <a:latin typeface="+mj-lt"/>
              </a:rPr>
              <a:t>Gestión</a:t>
            </a:r>
            <a:r>
              <a:rPr lang="en-US" sz="2800" dirty="0">
                <a:solidFill>
                  <a:schemeClr val="tx1"/>
                </a:solidFill>
                <a:latin typeface="+mj-lt"/>
              </a:rPr>
              <a:t> de </a:t>
            </a:r>
            <a:r>
              <a:rPr lang="en-US" sz="2800" dirty="0" err="1">
                <a:solidFill>
                  <a:schemeClr val="tx1"/>
                </a:solidFill>
                <a:latin typeface="+mj-lt"/>
              </a:rPr>
              <a:t>residuos</a:t>
            </a:r>
            <a:r>
              <a:rPr lang="en-US" sz="2800" dirty="0">
                <a:solidFill>
                  <a:schemeClr val="tx1"/>
                </a:solidFill>
                <a:latin typeface="+mj-lt"/>
              </a:rPr>
              <a:t> en </a:t>
            </a:r>
            <a:r>
              <a:rPr lang="en-US" sz="2800" dirty="0" err="1" smtClean="0">
                <a:solidFill>
                  <a:schemeClr val="tx1"/>
                </a:solidFill>
                <a:latin typeface="+mj-lt"/>
              </a:rPr>
              <a:t>Telefónica</a:t>
            </a:r>
            <a:r>
              <a:rPr lang="en-US" sz="2800" dirty="0" smtClean="0">
                <a:solidFill>
                  <a:schemeClr val="tx1"/>
                </a:solidFill>
                <a:latin typeface="+mj-lt"/>
              </a:rPr>
              <a:t> </a:t>
            </a:r>
            <a:r>
              <a:rPr lang="en-US" sz="2800" dirty="0" err="1" smtClean="0">
                <a:solidFill>
                  <a:schemeClr val="tx1"/>
                </a:solidFill>
                <a:latin typeface="+mj-lt"/>
              </a:rPr>
              <a:t>enfocada</a:t>
            </a:r>
            <a:r>
              <a:rPr lang="en-US" sz="2800" dirty="0" smtClean="0">
                <a:solidFill>
                  <a:schemeClr val="tx1"/>
                </a:solidFill>
                <a:latin typeface="+mj-lt"/>
              </a:rPr>
              <a:t> a la eco-</a:t>
            </a:r>
            <a:r>
              <a:rPr lang="en-US" sz="2800" dirty="0" err="1" smtClean="0">
                <a:solidFill>
                  <a:schemeClr val="tx1"/>
                </a:solidFill>
                <a:latin typeface="+mj-lt"/>
              </a:rPr>
              <a:t>eficiencia</a:t>
            </a:r>
            <a:endParaRPr lang="en-US" sz="2800" dirty="0">
              <a:solidFill>
                <a:schemeClr val="tx1"/>
              </a:solidFill>
              <a:latin typeface="+mj-lt"/>
            </a:endParaRPr>
          </a:p>
        </p:txBody>
      </p:sp>
      <p:pic>
        <p:nvPicPr>
          <p:cNvPr id="7175" name="Picture 1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5375" y="5319713"/>
            <a:ext cx="4429125" cy="898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176" name="1 Título"/>
          <p:cNvSpPr txBox="1">
            <a:spLocks/>
          </p:cNvSpPr>
          <p:nvPr/>
        </p:nvSpPr>
        <p:spPr bwMode="auto">
          <a:xfrm>
            <a:off x="184944" y="109538"/>
            <a:ext cx="6691312"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36000" bIns="36000">
            <a:spAutoFit/>
          </a:bodyPr>
          <a:lstStyle>
            <a:lvl1pPr algn="l" defTabSz="457200" eaLnBrk="0" hangingPunct="0">
              <a:spcBef>
                <a:spcPct val="20000"/>
              </a:spcBef>
              <a:buClr>
                <a:schemeClr val="tx2"/>
              </a:buClr>
              <a:buSzPct val="200000"/>
              <a:buChar char="•"/>
              <a:defRPr>
                <a:solidFill>
                  <a:schemeClr val="tx1"/>
                </a:solidFill>
                <a:latin typeface="Arial" pitchFamily="34" charset="0"/>
              </a:defRPr>
            </a:lvl1pPr>
            <a:lvl2pPr marL="742950" indent="-285750" algn="l" defTabSz="457200"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defTabSz="457200" eaLnBrk="0" hangingPunct="0">
              <a:spcBef>
                <a:spcPct val="20000"/>
              </a:spcBef>
              <a:buClr>
                <a:schemeClr val="tx1"/>
              </a:buClr>
              <a:buChar char="•"/>
              <a:defRPr sz="1400">
                <a:solidFill>
                  <a:schemeClr val="tx1"/>
                </a:solidFill>
                <a:latin typeface="Arial" pitchFamily="34" charset="0"/>
              </a:defRPr>
            </a:lvl3pPr>
            <a:lvl4pPr marL="1600200" indent="-228600" algn="l" defTabSz="457200" eaLnBrk="0" hangingPunct="0">
              <a:spcBef>
                <a:spcPct val="20000"/>
              </a:spcBef>
              <a:buChar char="–"/>
              <a:defRPr sz="2000">
                <a:solidFill>
                  <a:schemeClr val="tx1"/>
                </a:solidFill>
                <a:latin typeface="Arial" pitchFamily="34" charset="0"/>
              </a:defRPr>
            </a:lvl4pPr>
            <a:lvl5pPr marL="2057400" indent="-228600" algn="l" defTabSz="457200" eaLnBrk="0" hangingPunct="0">
              <a:spcBef>
                <a:spcPct val="20000"/>
              </a:spcBef>
              <a:buChar char="»"/>
              <a:defRPr sz="2000">
                <a:solidFill>
                  <a:schemeClr val="tx1"/>
                </a:solidFill>
                <a:latin typeface="Arial" pitchFamily="34" charset="0"/>
              </a:defRPr>
            </a:lvl5pPr>
            <a:lvl6pPr marL="2514600" indent="-228600" defTabSz="457200" eaLnBrk="0" fontAlgn="base" hangingPunct="0">
              <a:spcBef>
                <a:spcPct val="20000"/>
              </a:spcBef>
              <a:spcAft>
                <a:spcPct val="0"/>
              </a:spcAft>
              <a:buChar char="»"/>
              <a:defRPr sz="2000">
                <a:solidFill>
                  <a:schemeClr val="tx1"/>
                </a:solidFill>
                <a:latin typeface="Arial" pitchFamily="34" charset="0"/>
              </a:defRPr>
            </a:lvl6pPr>
            <a:lvl7pPr marL="2971800" indent="-228600" defTabSz="457200" eaLnBrk="0" fontAlgn="base" hangingPunct="0">
              <a:spcBef>
                <a:spcPct val="20000"/>
              </a:spcBef>
              <a:spcAft>
                <a:spcPct val="0"/>
              </a:spcAft>
              <a:buChar char="»"/>
              <a:defRPr sz="2000">
                <a:solidFill>
                  <a:schemeClr val="tx1"/>
                </a:solidFill>
                <a:latin typeface="Arial" pitchFamily="34" charset="0"/>
              </a:defRPr>
            </a:lvl7pPr>
            <a:lvl8pPr marL="3429000" indent="-228600" defTabSz="457200" eaLnBrk="0" fontAlgn="base" hangingPunct="0">
              <a:spcBef>
                <a:spcPct val="20000"/>
              </a:spcBef>
              <a:spcAft>
                <a:spcPct val="0"/>
              </a:spcAft>
              <a:buChar char="»"/>
              <a:defRPr sz="2000">
                <a:solidFill>
                  <a:schemeClr val="tx1"/>
                </a:solidFill>
                <a:latin typeface="Arial" pitchFamily="34" charset="0"/>
              </a:defRPr>
            </a:lvl8pPr>
            <a:lvl9pPr marL="3886200" indent="-228600" defTabSz="457200" eaLnBrk="0" fontAlgn="base" hangingPunct="0">
              <a:spcBef>
                <a:spcPct val="20000"/>
              </a:spcBef>
              <a:spcAft>
                <a:spcPct val="0"/>
              </a:spcAft>
              <a:buChar char="»"/>
              <a:defRPr sz="2000">
                <a:solidFill>
                  <a:schemeClr val="tx1"/>
                </a:solidFill>
                <a:latin typeface="Arial" pitchFamily="34" charset="0"/>
              </a:defRPr>
            </a:lvl9pPr>
          </a:lstStyle>
          <a:p>
            <a:pPr>
              <a:spcBef>
                <a:spcPct val="0"/>
              </a:spcBef>
              <a:buClrTx/>
              <a:buSzTx/>
              <a:buFontTx/>
              <a:buNone/>
            </a:pPr>
            <a:r>
              <a:rPr lang="es-ES" altLang="es-ES" sz="3000">
                <a:solidFill>
                  <a:srgbClr val="61B8CD"/>
                </a:solidFill>
              </a:rPr>
              <a:t>Gestión de residuos en Telefónica</a:t>
            </a:r>
          </a:p>
        </p:txBody>
      </p:sp>
      <p:sp>
        <p:nvSpPr>
          <p:cNvPr id="27" name="Rectangle 22"/>
          <p:cNvSpPr>
            <a:spLocks noChangeArrowheads="1"/>
          </p:cNvSpPr>
          <p:nvPr/>
        </p:nvSpPr>
        <p:spPr bwMode="auto">
          <a:xfrm>
            <a:off x="3348038" y="3101975"/>
            <a:ext cx="1944687" cy="554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285750" indent="-285750" algn="ctr">
              <a:buFontTx/>
              <a:buChar char="-"/>
              <a:defRPr/>
            </a:pPr>
            <a:r>
              <a:rPr lang="en-US" sz="1800" dirty="0" err="1">
                <a:latin typeface="+mj-lt"/>
              </a:rPr>
              <a:t>Riesgos</a:t>
            </a:r>
            <a:endParaRPr lang="en-US" sz="1800" dirty="0">
              <a:latin typeface="+mj-lt"/>
            </a:endParaRPr>
          </a:p>
          <a:p>
            <a:pPr algn="ctr">
              <a:defRPr/>
            </a:pPr>
            <a:r>
              <a:rPr lang="en-US" sz="1800" dirty="0">
                <a:latin typeface="+mj-lt"/>
              </a:rPr>
              <a:t> + </a:t>
            </a:r>
            <a:r>
              <a:rPr lang="en-US" sz="1800" dirty="0" err="1">
                <a:latin typeface="+mj-lt"/>
              </a:rPr>
              <a:t>ingresos</a:t>
            </a:r>
            <a:endParaRPr lang="en-US" sz="1800" dirty="0">
              <a:latin typeface="+mj-lt"/>
            </a:endParaRPr>
          </a:p>
        </p:txBody>
      </p:sp>
      <p:pic>
        <p:nvPicPr>
          <p:cNvPr id="2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3890" y="692696"/>
            <a:ext cx="8855999" cy="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144834831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3" name="1 Imagen"/>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8168" y="980728"/>
            <a:ext cx="7109227" cy="49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194" name="6 Objeto"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 name="34 Rectángulo"/>
          <p:cNvSpPr/>
          <p:nvPr>
            <p:custDataLst>
              <p:tags r:id="rId3"/>
            </p:custDataLst>
          </p:nvPr>
        </p:nvSpPr>
        <p:spPr>
          <a:xfrm>
            <a:off x="1389063" y="1431231"/>
            <a:ext cx="7143750" cy="906462"/>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554517" tIns="333248" rIns="554517" bIns="113792" spcCol="1270"/>
          <a:lstStyle/>
          <a:p>
            <a:pPr marL="171450" lvl="1" indent="-171450" defTabSz="711200">
              <a:lnSpc>
                <a:spcPct val="90000"/>
              </a:lnSpc>
              <a:spcAft>
                <a:spcPct val="15000"/>
              </a:spcAft>
              <a:buFontTx/>
              <a:buChar char="••"/>
              <a:defRPr/>
            </a:pPr>
            <a:endParaRPr lang="es-VE" sz="1000" dirty="0">
              <a:solidFill>
                <a:srgbClr val="043F52">
                  <a:hueOff val="0"/>
                  <a:satOff val="0"/>
                  <a:lumOff val="0"/>
                  <a:alphaOff val="0"/>
                </a:srgbClr>
              </a:solidFill>
            </a:endParaRPr>
          </a:p>
        </p:txBody>
      </p:sp>
      <p:sp>
        <p:nvSpPr>
          <p:cNvPr id="8196" name="1 Título"/>
          <p:cNvSpPr txBox="1">
            <a:spLocks/>
          </p:cNvSpPr>
          <p:nvPr/>
        </p:nvSpPr>
        <p:spPr bwMode="auto">
          <a:xfrm>
            <a:off x="142343" y="44624"/>
            <a:ext cx="8785225"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36000" bIns="36000">
            <a:spAutoFit/>
          </a:bodyPr>
          <a:lstStyle>
            <a:lvl1pPr algn="l" defTabSz="457200" eaLnBrk="0" hangingPunct="0">
              <a:spcBef>
                <a:spcPct val="20000"/>
              </a:spcBef>
              <a:buClr>
                <a:schemeClr val="tx2"/>
              </a:buClr>
              <a:buSzPct val="200000"/>
              <a:buChar char="•"/>
              <a:defRPr>
                <a:solidFill>
                  <a:schemeClr val="tx1"/>
                </a:solidFill>
                <a:latin typeface="Arial" pitchFamily="34" charset="0"/>
              </a:defRPr>
            </a:lvl1pPr>
            <a:lvl2pPr marL="742950" indent="-285750" algn="l" defTabSz="457200"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defTabSz="457200" eaLnBrk="0" hangingPunct="0">
              <a:spcBef>
                <a:spcPct val="20000"/>
              </a:spcBef>
              <a:buClr>
                <a:schemeClr val="tx1"/>
              </a:buClr>
              <a:buChar char="•"/>
              <a:defRPr sz="1400">
                <a:solidFill>
                  <a:schemeClr val="tx1"/>
                </a:solidFill>
                <a:latin typeface="Arial" pitchFamily="34" charset="0"/>
              </a:defRPr>
            </a:lvl3pPr>
            <a:lvl4pPr marL="1600200" indent="-228600" algn="l" defTabSz="457200" eaLnBrk="0" hangingPunct="0">
              <a:spcBef>
                <a:spcPct val="20000"/>
              </a:spcBef>
              <a:buChar char="–"/>
              <a:defRPr sz="2000">
                <a:solidFill>
                  <a:schemeClr val="tx1"/>
                </a:solidFill>
                <a:latin typeface="Arial" pitchFamily="34" charset="0"/>
              </a:defRPr>
            </a:lvl4pPr>
            <a:lvl5pPr marL="2057400" indent="-228600" algn="l" defTabSz="457200" eaLnBrk="0" hangingPunct="0">
              <a:spcBef>
                <a:spcPct val="20000"/>
              </a:spcBef>
              <a:buChar char="»"/>
              <a:defRPr sz="2000">
                <a:solidFill>
                  <a:schemeClr val="tx1"/>
                </a:solidFill>
                <a:latin typeface="Arial" pitchFamily="34" charset="0"/>
              </a:defRPr>
            </a:lvl5pPr>
            <a:lvl6pPr marL="2514600" indent="-228600" defTabSz="457200" eaLnBrk="0" fontAlgn="base" hangingPunct="0">
              <a:spcBef>
                <a:spcPct val="20000"/>
              </a:spcBef>
              <a:spcAft>
                <a:spcPct val="0"/>
              </a:spcAft>
              <a:buChar char="»"/>
              <a:defRPr sz="2000">
                <a:solidFill>
                  <a:schemeClr val="tx1"/>
                </a:solidFill>
                <a:latin typeface="Arial" pitchFamily="34" charset="0"/>
              </a:defRPr>
            </a:lvl6pPr>
            <a:lvl7pPr marL="2971800" indent="-228600" defTabSz="457200" eaLnBrk="0" fontAlgn="base" hangingPunct="0">
              <a:spcBef>
                <a:spcPct val="20000"/>
              </a:spcBef>
              <a:spcAft>
                <a:spcPct val="0"/>
              </a:spcAft>
              <a:buChar char="»"/>
              <a:defRPr sz="2000">
                <a:solidFill>
                  <a:schemeClr val="tx1"/>
                </a:solidFill>
                <a:latin typeface="Arial" pitchFamily="34" charset="0"/>
              </a:defRPr>
            </a:lvl7pPr>
            <a:lvl8pPr marL="3429000" indent="-228600" defTabSz="457200" eaLnBrk="0" fontAlgn="base" hangingPunct="0">
              <a:spcBef>
                <a:spcPct val="20000"/>
              </a:spcBef>
              <a:spcAft>
                <a:spcPct val="0"/>
              </a:spcAft>
              <a:buChar char="»"/>
              <a:defRPr sz="2000">
                <a:solidFill>
                  <a:schemeClr val="tx1"/>
                </a:solidFill>
                <a:latin typeface="Arial" pitchFamily="34" charset="0"/>
              </a:defRPr>
            </a:lvl8pPr>
            <a:lvl9pPr marL="3886200" indent="-228600" defTabSz="457200" eaLnBrk="0" fontAlgn="base" hangingPunct="0">
              <a:spcBef>
                <a:spcPct val="20000"/>
              </a:spcBef>
              <a:spcAft>
                <a:spcPct val="0"/>
              </a:spcAft>
              <a:buChar char="»"/>
              <a:defRPr sz="2000">
                <a:solidFill>
                  <a:schemeClr val="tx1"/>
                </a:solidFill>
                <a:latin typeface="Arial" pitchFamily="34" charset="0"/>
              </a:defRPr>
            </a:lvl9pPr>
          </a:lstStyle>
          <a:p>
            <a:pPr>
              <a:spcBef>
                <a:spcPct val="0"/>
              </a:spcBef>
              <a:buClrTx/>
              <a:buSzTx/>
              <a:buFontTx/>
              <a:buNone/>
            </a:pPr>
            <a:r>
              <a:rPr lang="es-ES" altLang="es-ES" sz="3000" dirty="0" smtClean="0">
                <a:solidFill>
                  <a:srgbClr val="61B8CD"/>
                </a:solidFill>
              </a:rPr>
              <a:t>Gestión de Residuos en Telefónica</a:t>
            </a:r>
            <a:endParaRPr lang="es-ES" altLang="es-ES" sz="3000" dirty="0">
              <a:solidFill>
                <a:srgbClr val="61B8CD"/>
              </a:solidFill>
            </a:endParaRPr>
          </a:p>
        </p:txBody>
      </p:sp>
      <p:grpSp>
        <p:nvGrpSpPr>
          <p:cNvPr id="3" name="2 Grupo"/>
          <p:cNvGrpSpPr/>
          <p:nvPr/>
        </p:nvGrpSpPr>
        <p:grpSpPr>
          <a:xfrm>
            <a:off x="1691680" y="1939912"/>
            <a:ext cx="3744416" cy="3842272"/>
            <a:chOff x="1691680" y="2227944"/>
            <a:chExt cx="3744416" cy="3842272"/>
          </a:xfrm>
        </p:grpSpPr>
        <p:sp>
          <p:nvSpPr>
            <p:cNvPr id="2" name="1 Elipse"/>
            <p:cNvSpPr/>
            <p:nvPr/>
          </p:nvSpPr>
          <p:spPr bwMode="auto">
            <a:xfrm>
              <a:off x="1907704" y="2227944"/>
              <a:ext cx="1512168" cy="1201056"/>
            </a:xfrm>
            <a:prstGeom prst="ellipse">
              <a:avLst/>
            </a:prstGeom>
            <a:noFill/>
            <a:ln>
              <a:solidFill>
                <a:srgbClr val="00B050"/>
              </a:solidFill>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endParaRPr>
            </a:p>
          </p:txBody>
        </p:sp>
        <p:sp>
          <p:nvSpPr>
            <p:cNvPr id="13" name="12 Elipse"/>
            <p:cNvSpPr/>
            <p:nvPr/>
          </p:nvSpPr>
          <p:spPr bwMode="auto">
            <a:xfrm>
              <a:off x="1691680" y="4149080"/>
              <a:ext cx="1512168" cy="1201056"/>
            </a:xfrm>
            <a:prstGeom prst="ellipse">
              <a:avLst/>
            </a:prstGeom>
            <a:noFill/>
            <a:ln>
              <a:solidFill>
                <a:srgbClr val="00B050"/>
              </a:solidFill>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endParaRPr>
            </a:p>
          </p:txBody>
        </p:sp>
        <p:sp>
          <p:nvSpPr>
            <p:cNvPr id="14" name="13 Elipse"/>
            <p:cNvSpPr/>
            <p:nvPr/>
          </p:nvSpPr>
          <p:spPr bwMode="auto">
            <a:xfrm>
              <a:off x="3923928" y="4869160"/>
              <a:ext cx="1512168" cy="1201056"/>
            </a:xfrm>
            <a:prstGeom prst="ellipse">
              <a:avLst/>
            </a:prstGeom>
            <a:noFill/>
            <a:ln>
              <a:solidFill>
                <a:srgbClr val="00B050"/>
              </a:solidFill>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endParaRPr>
            </a:p>
          </p:txBody>
        </p:sp>
      </p:grpSp>
      <p:sp>
        <p:nvSpPr>
          <p:cNvPr id="8197" name="3 Elipse"/>
          <p:cNvSpPr>
            <a:spLocks noChangeArrowheads="1"/>
          </p:cNvSpPr>
          <p:nvPr/>
        </p:nvSpPr>
        <p:spPr bwMode="auto">
          <a:xfrm>
            <a:off x="6905284" y="3619825"/>
            <a:ext cx="2016919" cy="1306513"/>
          </a:xfrm>
          <a:prstGeom prst="ellipse">
            <a:avLst/>
          </a:prstGeom>
          <a:solidFill>
            <a:srgbClr val="009933"/>
          </a:solidFill>
          <a:ln w="9525" algn="ctr">
            <a:solidFill>
              <a:schemeClr val="bg2"/>
            </a:solidFill>
            <a:round/>
            <a:headEnd/>
            <a:tailEnd/>
          </a:ln>
        </p:spPr>
        <p:txBody>
          <a:bodyPr wrap="none" lIns="0" tIns="0" rIns="0" bIns="0" anchor="ctr"/>
          <a:lstStyle/>
          <a:p>
            <a:pPr algn="ctr" eaLnBrk="0" hangingPunct="0">
              <a:spcBef>
                <a:spcPct val="0"/>
              </a:spcBef>
            </a:pPr>
            <a:r>
              <a:rPr lang="en-US" altLang="es-ES" sz="1600" b="1" dirty="0">
                <a:solidFill>
                  <a:schemeClr val="bg1"/>
                </a:solidFill>
              </a:rPr>
              <a:t>10 mill € </a:t>
            </a:r>
            <a:r>
              <a:rPr lang="en-US" altLang="es-ES" sz="1600" b="1" dirty="0" err="1">
                <a:solidFill>
                  <a:schemeClr val="bg1"/>
                </a:solidFill>
              </a:rPr>
              <a:t>por</a:t>
            </a:r>
            <a:endParaRPr lang="en-US" altLang="es-ES" sz="1600" b="1" dirty="0">
              <a:solidFill>
                <a:schemeClr val="bg1"/>
              </a:solidFill>
            </a:endParaRPr>
          </a:p>
          <a:p>
            <a:pPr algn="ctr" eaLnBrk="0" hangingPunct="0">
              <a:spcBef>
                <a:spcPct val="0"/>
              </a:spcBef>
            </a:pPr>
            <a:r>
              <a:rPr lang="en-US" altLang="es-ES" sz="1600" b="1" dirty="0" err="1">
                <a:solidFill>
                  <a:schemeClr val="bg1"/>
                </a:solidFill>
              </a:rPr>
              <a:t>gestión</a:t>
            </a:r>
            <a:r>
              <a:rPr lang="en-US" altLang="es-ES" sz="1600" b="1" dirty="0">
                <a:solidFill>
                  <a:schemeClr val="bg1"/>
                </a:solidFill>
              </a:rPr>
              <a:t> </a:t>
            </a:r>
          </a:p>
          <a:p>
            <a:pPr algn="ctr" eaLnBrk="0" hangingPunct="0">
              <a:spcBef>
                <a:spcPct val="0"/>
              </a:spcBef>
            </a:pPr>
            <a:r>
              <a:rPr lang="en-US" altLang="es-ES" sz="1600" b="1" dirty="0">
                <a:solidFill>
                  <a:schemeClr val="bg1"/>
                </a:solidFill>
              </a:rPr>
              <a:t>de </a:t>
            </a:r>
            <a:r>
              <a:rPr lang="en-US" altLang="es-ES" sz="1600" b="1" dirty="0" err="1">
                <a:solidFill>
                  <a:schemeClr val="bg1"/>
                </a:solidFill>
              </a:rPr>
              <a:t>residuos</a:t>
            </a:r>
            <a:endParaRPr lang="en-US" altLang="es-ES" sz="1600" b="1" dirty="0">
              <a:solidFill>
                <a:schemeClr val="bg1"/>
              </a:solidFill>
            </a:endParaRPr>
          </a:p>
        </p:txBody>
      </p:sp>
      <p:sp>
        <p:nvSpPr>
          <p:cNvPr id="8200" name="15 Elipse"/>
          <p:cNvSpPr>
            <a:spLocks noChangeArrowheads="1"/>
          </p:cNvSpPr>
          <p:nvPr/>
        </p:nvSpPr>
        <p:spPr bwMode="auto">
          <a:xfrm>
            <a:off x="6876256" y="1777418"/>
            <a:ext cx="2016919" cy="1308100"/>
          </a:xfrm>
          <a:prstGeom prst="ellipse">
            <a:avLst/>
          </a:prstGeom>
          <a:solidFill>
            <a:srgbClr val="009933"/>
          </a:solidFill>
          <a:ln w="9525" algn="ctr">
            <a:solidFill>
              <a:schemeClr val="bg2"/>
            </a:solidFill>
            <a:round/>
            <a:headEnd/>
            <a:tailEnd/>
          </a:ln>
        </p:spPr>
        <p:txBody>
          <a:bodyPr wrap="none" lIns="0" tIns="0" rIns="0" bIns="0" anchor="ctr"/>
          <a:lstStyle>
            <a:lvl1pPr algn="l" eaLnBrk="0" hangingPunct="0">
              <a:spcBef>
                <a:spcPct val="20000"/>
              </a:spcBef>
              <a:buClr>
                <a:schemeClr val="tx2"/>
              </a:buClr>
              <a:buSzPct val="200000"/>
              <a:buChar char="•"/>
              <a:defRPr>
                <a:solidFill>
                  <a:schemeClr val="tx1"/>
                </a:solidFill>
                <a:latin typeface="Arial" pitchFamily="34" charset="0"/>
              </a:defRPr>
            </a:lvl1pPr>
            <a:lvl2pPr marL="742950" indent="-285750" algn="l"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eaLnBrk="0" hangingPunct="0">
              <a:spcBef>
                <a:spcPct val="20000"/>
              </a:spcBef>
              <a:buClr>
                <a:schemeClr val="tx1"/>
              </a:buClr>
              <a:buChar char="•"/>
              <a:defRPr sz="1400">
                <a:solidFill>
                  <a:schemeClr val="tx1"/>
                </a:solidFill>
                <a:latin typeface="Arial" pitchFamily="34" charset="0"/>
              </a:defRPr>
            </a:lvl3pPr>
            <a:lvl4pPr marL="1600200" indent="-228600" algn="l" eaLnBrk="0" hangingPunct="0">
              <a:spcBef>
                <a:spcPct val="20000"/>
              </a:spcBef>
              <a:buChar char="–"/>
              <a:defRPr sz="2000">
                <a:solidFill>
                  <a:schemeClr val="tx1"/>
                </a:solidFill>
                <a:latin typeface="Arial" pitchFamily="34" charset="0"/>
              </a:defRPr>
            </a:lvl4pPr>
            <a:lvl5pPr marL="2057400" indent="-228600" algn="l"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a:spcBef>
                <a:spcPct val="0"/>
              </a:spcBef>
              <a:buClrTx/>
              <a:buSzTx/>
              <a:buFontTx/>
              <a:buNone/>
              <a:defRPr/>
            </a:pPr>
            <a:r>
              <a:rPr lang="en-US" altLang="es-ES" sz="1600" b="1" dirty="0" smtClean="0">
                <a:solidFill>
                  <a:schemeClr val="bg1"/>
                </a:solidFill>
                <a:latin typeface="+mn-lt"/>
              </a:rPr>
              <a:t>89 mill € </a:t>
            </a:r>
          </a:p>
          <a:p>
            <a:pPr algn="ctr">
              <a:spcBef>
                <a:spcPct val="0"/>
              </a:spcBef>
              <a:buClrTx/>
              <a:buSzTx/>
              <a:buFontTx/>
              <a:buNone/>
              <a:defRPr/>
            </a:pPr>
            <a:r>
              <a:rPr lang="en-US" altLang="es-ES" sz="1600" dirty="0" smtClean="0">
                <a:solidFill>
                  <a:schemeClr val="bg1"/>
                </a:solidFill>
                <a:latin typeface="+mn-lt"/>
              </a:rPr>
              <a:t> de </a:t>
            </a:r>
            <a:r>
              <a:rPr lang="en-US" altLang="es-ES" sz="1600" dirty="0" err="1" smtClean="0">
                <a:solidFill>
                  <a:schemeClr val="bg1"/>
                </a:solidFill>
                <a:latin typeface="+mn-lt"/>
              </a:rPr>
              <a:t>ingresos</a:t>
            </a:r>
            <a:endParaRPr lang="en-US" altLang="es-ES" sz="1600" dirty="0" smtClean="0">
              <a:solidFill>
                <a:schemeClr val="bg1"/>
              </a:solidFill>
              <a:latin typeface="+mn-lt"/>
            </a:endParaRPr>
          </a:p>
        </p:txBody>
      </p:sp>
      <p:pic>
        <p:nvPicPr>
          <p:cNvPr id="16"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3890" y="582580"/>
            <a:ext cx="8855999" cy="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9378513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8"/>
          <p:cNvSpPr>
            <a:spLocks/>
          </p:cNvSpPr>
          <p:nvPr/>
        </p:nvSpPr>
        <p:spPr bwMode="auto">
          <a:xfrm>
            <a:off x="168674" y="115888"/>
            <a:ext cx="7997825"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6000" bIns="38100"/>
          <a:lstStyle>
            <a:lvl1pPr algn="l" eaLnBrk="0" hangingPunct="0">
              <a:spcBef>
                <a:spcPct val="20000"/>
              </a:spcBef>
              <a:buClr>
                <a:schemeClr val="tx2"/>
              </a:buClr>
              <a:buSzPct val="200000"/>
              <a:buChar char="•"/>
              <a:defRPr>
                <a:solidFill>
                  <a:schemeClr val="tx1"/>
                </a:solidFill>
                <a:latin typeface="Arial" pitchFamily="34" charset="0"/>
              </a:defRPr>
            </a:lvl1pPr>
            <a:lvl2pPr marL="742950" indent="-285750" algn="l"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eaLnBrk="0" hangingPunct="0">
              <a:spcBef>
                <a:spcPct val="20000"/>
              </a:spcBef>
              <a:buClr>
                <a:schemeClr val="tx1"/>
              </a:buClr>
              <a:buChar char="•"/>
              <a:defRPr sz="1400">
                <a:solidFill>
                  <a:schemeClr val="tx1"/>
                </a:solidFill>
                <a:latin typeface="Arial" pitchFamily="34" charset="0"/>
              </a:defRPr>
            </a:lvl3pPr>
            <a:lvl4pPr marL="1600200" indent="-228600" algn="l" eaLnBrk="0" hangingPunct="0">
              <a:spcBef>
                <a:spcPct val="20000"/>
              </a:spcBef>
              <a:buChar char="–"/>
              <a:defRPr sz="2000">
                <a:solidFill>
                  <a:schemeClr val="tx1"/>
                </a:solidFill>
                <a:latin typeface="Arial" pitchFamily="34" charset="0"/>
              </a:defRPr>
            </a:lvl4pPr>
            <a:lvl5pPr marL="2057400" indent="-228600" algn="l"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lnSpc>
                <a:spcPct val="90000"/>
              </a:lnSpc>
              <a:spcBef>
                <a:spcPct val="0"/>
              </a:spcBef>
              <a:buClrTx/>
              <a:buSzTx/>
              <a:buFontTx/>
              <a:buNone/>
            </a:pPr>
            <a:r>
              <a:rPr lang="is-IS" altLang="es-ES" sz="2800" dirty="0" smtClean="0">
                <a:solidFill>
                  <a:srgbClr val="61B8CD"/>
                </a:solidFill>
                <a:sym typeface="Telefonica Headline Light" pitchFamily="2" charset="0"/>
              </a:rPr>
              <a:t>Fuentes de generación de RAEE en Telefónica</a:t>
            </a:r>
            <a:endParaRPr lang="is-IS" altLang="es-ES" sz="2800" dirty="0">
              <a:solidFill>
                <a:srgbClr val="61B8CD"/>
              </a:solidFill>
              <a:sym typeface="Telefonica Headline Light" pitchFamily="2" charset="0"/>
            </a:endParaRPr>
          </a:p>
        </p:txBody>
      </p:sp>
      <p:graphicFrame>
        <p:nvGraphicFramePr>
          <p:cNvPr id="3" name="2 Diagrama"/>
          <p:cNvGraphicFramePr/>
          <p:nvPr>
            <p:extLst>
              <p:ext uri="{D42A27DB-BD31-4B8C-83A1-F6EECF244321}">
                <p14:modId xmlns:p14="http://schemas.microsoft.com/office/powerpoint/2010/main" val="55236764"/>
              </p:ext>
            </p:extLst>
          </p:nvPr>
        </p:nvGraphicFramePr>
        <p:xfrm>
          <a:off x="1533525" y="1118458"/>
          <a:ext cx="6096000" cy="395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221" name="3 CuadroTexto"/>
          <p:cNvSpPr txBox="1">
            <a:spLocks noChangeArrowheads="1"/>
          </p:cNvSpPr>
          <p:nvPr/>
        </p:nvSpPr>
        <p:spPr bwMode="auto">
          <a:xfrm>
            <a:off x="1125538" y="5376863"/>
            <a:ext cx="691197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gn="l" eaLnBrk="0" hangingPunct="0">
              <a:spcBef>
                <a:spcPct val="20000"/>
              </a:spcBef>
              <a:buClr>
                <a:schemeClr val="tx2"/>
              </a:buClr>
              <a:buSzPct val="200000"/>
              <a:buChar char="•"/>
              <a:defRPr>
                <a:solidFill>
                  <a:schemeClr val="tx1"/>
                </a:solidFill>
                <a:latin typeface="Arial" pitchFamily="34" charset="0"/>
              </a:defRPr>
            </a:lvl1pPr>
            <a:lvl2pPr marL="742950" indent="-285750" algn="l"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eaLnBrk="0" hangingPunct="0">
              <a:spcBef>
                <a:spcPct val="20000"/>
              </a:spcBef>
              <a:buClr>
                <a:schemeClr val="tx1"/>
              </a:buClr>
              <a:buChar char="•"/>
              <a:defRPr sz="1400">
                <a:solidFill>
                  <a:schemeClr val="tx1"/>
                </a:solidFill>
                <a:latin typeface="Arial" pitchFamily="34" charset="0"/>
              </a:defRPr>
            </a:lvl3pPr>
            <a:lvl4pPr marL="1600200" indent="-228600" algn="l" eaLnBrk="0" hangingPunct="0">
              <a:spcBef>
                <a:spcPct val="20000"/>
              </a:spcBef>
              <a:buChar char="–"/>
              <a:defRPr sz="2000">
                <a:solidFill>
                  <a:schemeClr val="tx1"/>
                </a:solidFill>
                <a:latin typeface="Arial" pitchFamily="34" charset="0"/>
              </a:defRPr>
            </a:lvl4pPr>
            <a:lvl5pPr marL="2057400" indent="-228600" algn="l"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buClrTx/>
              <a:buSzTx/>
              <a:buFont typeface="Wingdings" pitchFamily="2" charset="2"/>
              <a:buChar char="ü"/>
            </a:pPr>
            <a:r>
              <a:rPr lang="es-ES" altLang="es-ES" sz="1600">
                <a:solidFill>
                  <a:srgbClr val="000000"/>
                </a:solidFill>
              </a:rPr>
              <a:t>Entrega a gestores calificados de residuos</a:t>
            </a:r>
          </a:p>
          <a:p>
            <a:pPr algn="ctr" eaLnBrk="1" hangingPunct="1">
              <a:spcBef>
                <a:spcPct val="0"/>
              </a:spcBef>
              <a:buClrTx/>
              <a:buSzTx/>
              <a:buFont typeface="Wingdings" pitchFamily="2" charset="2"/>
              <a:buChar char="ü"/>
            </a:pPr>
            <a:r>
              <a:rPr lang="es-ES" altLang="es-ES" sz="1600">
                <a:solidFill>
                  <a:srgbClr val="000000"/>
                </a:solidFill>
              </a:rPr>
              <a:t>Recogida de equipos por parte de fabricantes</a:t>
            </a:r>
          </a:p>
          <a:p>
            <a:pPr algn="ctr" eaLnBrk="1" hangingPunct="1">
              <a:spcBef>
                <a:spcPct val="0"/>
              </a:spcBef>
              <a:buClrTx/>
              <a:buSzTx/>
              <a:buFont typeface="Wingdings" pitchFamily="2" charset="2"/>
              <a:buChar char="ü"/>
            </a:pPr>
            <a:r>
              <a:rPr lang="es-ES" altLang="es-ES" sz="1600">
                <a:solidFill>
                  <a:srgbClr val="000000"/>
                </a:solidFill>
              </a:rPr>
              <a:t>Programas de reciclaje y reuso de teléfonos móviles en desuso</a:t>
            </a:r>
          </a:p>
          <a:p>
            <a:pPr algn="ctr" eaLnBrk="1" hangingPunct="1">
              <a:spcBef>
                <a:spcPct val="0"/>
              </a:spcBef>
              <a:buClrTx/>
              <a:buSzTx/>
              <a:buFont typeface="Wingdings" pitchFamily="2" charset="2"/>
              <a:buChar char="ü"/>
            </a:pPr>
            <a:endParaRPr lang="es-ES" altLang="es-ES" sz="1600">
              <a:solidFill>
                <a:srgbClr val="000000"/>
              </a:solidFill>
            </a:endParaRPr>
          </a:p>
        </p:txBody>
      </p:sp>
      <p:sp>
        <p:nvSpPr>
          <p:cNvPr id="5" name="4 Flecha abajo"/>
          <p:cNvSpPr/>
          <p:nvPr/>
        </p:nvSpPr>
        <p:spPr bwMode="auto">
          <a:xfrm>
            <a:off x="3995738" y="5084763"/>
            <a:ext cx="1081087" cy="292100"/>
          </a:xfrm>
          <a:prstGeom prst="downArrow">
            <a:avLst/>
          </a:prstGeom>
          <a:solidFill>
            <a:schemeClr val="accent1">
              <a:lumMod val="10000"/>
              <a:alpha val="70000"/>
            </a:schemeClr>
          </a:solidFill>
          <a:ln w="25400" cap="flat" cmpd="sng" algn="ctr">
            <a:solidFill>
              <a:schemeClr val="accent1">
                <a:lumMod val="75000"/>
              </a:schemeClr>
            </a:solidFill>
            <a:prstDash val="solid"/>
            <a:round/>
            <a:headEnd type="none" w="med" len="med"/>
            <a:tailEnd type="none" w="med" len="med"/>
          </a:ln>
          <a:effectLst/>
          <a:extLst/>
        </p:spPr>
        <p:txBody>
          <a:bodyPr/>
          <a:lstStyle/>
          <a:p>
            <a:pPr>
              <a:defRPr/>
            </a:pPr>
            <a:endParaRPr lang="es-ES"/>
          </a:p>
        </p:txBody>
      </p:sp>
      <p:pic>
        <p:nvPicPr>
          <p:cNvPr id="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3890" y="582580"/>
            <a:ext cx="8855999" cy="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760096965"/>
      </p:ext>
    </p:extLst>
  </p:cSld>
  <p:clrMapOvr>
    <a:masterClrMapping/>
  </p:clrMapOvr>
  <p:transition spd="med">
    <p:push/>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tangle 16"/>
          <p:cNvSpPr>
            <a:spLocks/>
          </p:cNvSpPr>
          <p:nvPr/>
        </p:nvSpPr>
        <p:spPr bwMode="auto">
          <a:xfrm>
            <a:off x="611560" y="1340768"/>
            <a:ext cx="7848871" cy="4824536"/>
          </a:xfrm>
          <a:prstGeom prst="rect">
            <a:avLst/>
          </a:prstGeom>
          <a:solidFill>
            <a:schemeClr val="tx1">
              <a:lumMod val="10000"/>
              <a:lumOff val="90000"/>
            </a:schemeClr>
          </a:solidFill>
          <a:ln>
            <a:noFill/>
          </a:ln>
          <a:effectLst/>
          <a:extLst/>
        </p:spPr>
        <p:txBody>
          <a:bodyPr lIns="0" tIns="0" rIns="0" bIns="0"/>
          <a:lstStyle/>
          <a:p>
            <a:pPr marL="342900" indent="-342900" algn="l">
              <a:buClr>
                <a:schemeClr val="tx1">
                  <a:lumMod val="50000"/>
                  <a:lumOff val="50000"/>
                </a:schemeClr>
              </a:buClr>
              <a:buSzPct val="150000"/>
              <a:buFont typeface="Wingdings" panose="05000000000000000000" pitchFamily="2" charset="2"/>
              <a:buChar char="ü"/>
            </a:pPr>
            <a:endParaRPr lang="es-ES" dirty="0" smtClean="0"/>
          </a:p>
          <a:p>
            <a:pPr marL="342900" indent="-342900" algn="l">
              <a:buClr>
                <a:schemeClr val="tx1">
                  <a:lumMod val="50000"/>
                  <a:lumOff val="50000"/>
                </a:schemeClr>
              </a:buClr>
              <a:buSzPct val="150000"/>
              <a:buFont typeface="Wingdings" panose="05000000000000000000" pitchFamily="2" charset="2"/>
              <a:buChar char="ü"/>
            </a:pPr>
            <a:r>
              <a:rPr lang="es-ES" dirty="0" smtClean="0"/>
              <a:t>Promover</a:t>
            </a:r>
            <a:r>
              <a:rPr lang="es-ES" b="1" dirty="0" smtClean="0"/>
              <a:t>  </a:t>
            </a:r>
            <a:r>
              <a:rPr lang="es-ES" dirty="0" smtClean="0"/>
              <a:t>modelos </a:t>
            </a:r>
            <a:r>
              <a:rPr lang="es-ES" dirty="0"/>
              <a:t>de gestión </a:t>
            </a:r>
            <a:r>
              <a:rPr lang="es-ES" dirty="0" smtClean="0"/>
              <a:t>de RAEE bajo principios de €</a:t>
            </a:r>
            <a:r>
              <a:rPr lang="es-ES" dirty="0" err="1" smtClean="0"/>
              <a:t>co</a:t>
            </a:r>
            <a:r>
              <a:rPr lang="es-ES" dirty="0" smtClean="0"/>
              <a:t>-eficiencia y acorde </a:t>
            </a:r>
            <a:r>
              <a:rPr lang="es-ES" dirty="0"/>
              <a:t>con la legislación </a:t>
            </a:r>
            <a:r>
              <a:rPr lang="es-ES" dirty="0" smtClean="0"/>
              <a:t>ambiental vigente</a:t>
            </a:r>
            <a:endParaRPr lang="es-ES" dirty="0"/>
          </a:p>
          <a:p>
            <a:pPr marL="342900" indent="-342900" algn="l" eaLnBrk="1" hangingPunct="1">
              <a:buClr>
                <a:schemeClr val="tx1">
                  <a:lumMod val="50000"/>
                  <a:lumOff val="50000"/>
                </a:schemeClr>
              </a:buClr>
              <a:buSzPct val="150000"/>
              <a:buFont typeface="Wingdings" panose="05000000000000000000" pitchFamily="2" charset="2"/>
              <a:buChar char="ü"/>
            </a:pPr>
            <a:endParaRPr lang="es-ES" dirty="0" smtClean="0"/>
          </a:p>
          <a:p>
            <a:pPr marL="342900" indent="-342900" algn="l">
              <a:buClr>
                <a:schemeClr val="tx1">
                  <a:lumMod val="50000"/>
                  <a:lumOff val="50000"/>
                </a:schemeClr>
              </a:buClr>
              <a:buSzPct val="150000"/>
              <a:buFont typeface="Wingdings" panose="05000000000000000000" pitchFamily="2" charset="2"/>
              <a:buChar char="ü"/>
            </a:pPr>
            <a:r>
              <a:rPr lang="es-ES" dirty="0" smtClean="0"/>
              <a:t>Promover </a:t>
            </a:r>
            <a:r>
              <a:rPr lang="es-ES" dirty="0"/>
              <a:t>estándares que reduzcan la generación de RAEE y mejoren el eco-diseño de AEE para servicios de telecomunicaciones </a:t>
            </a:r>
          </a:p>
          <a:p>
            <a:pPr marL="342900" indent="-342900" algn="l" eaLnBrk="1" hangingPunct="1">
              <a:buClr>
                <a:schemeClr val="tx1">
                  <a:lumMod val="50000"/>
                  <a:lumOff val="50000"/>
                </a:schemeClr>
              </a:buClr>
              <a:buSzPct val="150000"/>
              <a:buFont typeface="Wingdings" panose="05000000000000000000" pitchFamily="2" charset="2"/>
              <a:buChar char="ü"/>
            </a:pPr>
            <a:endParaRPr lang="es-ES" dirty="0" smtClean="0"/>
          </a:p>
          <a:p>
            <a:pPr marL="342900" indent="-342900" algn="l" eaLnBrk="1" hangingPunct="1">
              <a:buClr>
                <a:schemeClr val="tx1">
                  <a:lumMod val="50000"/>
                  <a:lumOff val="50000"/>
                </a:schemeClr>
              </a:buClr>
              <a:buSzPct val="150000"/>
              <a:buFont typeface="Wingdings" panose="05000000000000000000" pitchFamily="2" charset="2"/>
              <a:buChar char="ü"/>
            </a:pPr>
            <a:r>
              <a:rPr lang="es-ES" dirty="0" smtClean="0"/>
              <a:t>Desarrollar políticas de compra de AEE para nuestras operaciones que faciliten el re-uso y reciclaje al final de su vida útil.</a:t>
            </a:r>
          </a:p>
          <a:p>
            <a:pPr marL="342900" indent="-342900" algn="l" eaLnBrk="1" hangingPunct="1">
              <a:buClr>
                <a:schemeClr val="tx1">
                  <a:lumMod val="50000"/>
                  <a:lumOff val="50000"/>
                </a:schemeClr>
              </a:buClr>
              <a:buSzPct val="150000"/>
              <a:buFont typeface="Wingdings" panose="05000000000000000000" pitchFamily="2" charset="2"/>
              <a:buChar char="ü"/>
            </a:pPr>
            <a:endParaRPr lang="es-ES" dirty="0" smtClean="0"/>
          </a:p>
          <a:p>
            <a:pPr marL="342900" indent="-342900" algn="l" eaLnBrk="1" hangingPunct="1">
              <a:buClr>
                <a:schemeClr val="tx1">
                  <a:lumMod val="50000"/>
                  <a:lumOff val="50000"/>
                </a:schemeClr>
              </a:buClr>
              <a:buSzPct val="150000"/>
              <a:buFont typeface="Wingdings" panose="05000000000000000000" pitchFamily="2" charset="2"/>
              <a:buChar char="ü"/>
            </a:pPr>
            <a:r>
              <a:rPr lang="es-ES" dirty="0" smtClean="0"/>
              <a:t>Educar y proveer a nuestros clientes opciones ambientalmente responsables  a </a:t>
            </a:r>
            <a:r>
              <a:rPr lang="es-ES" dirty="0"/>
              <a:t>la hora de deshacerse de </a:t>
            </a:r>
            <a:r>
              <a:rPr lang="es-ES" dirty="0" smtClean="0"/>
              <a:t>sus dispositivos en desuso.</a:t>
            </a:r>
          </a:p>
          <a:p>
            <a:pPr marL="342900" indent="-342900" algn="l" eaLnBrk="1" hangingPunct="1">
              <a:buClr>
                <a:schemeClr val="tx1">
                  <a:lumMod val="50000"/>
                  <a:lumOff val="50000"/>
                </a:schemeClr>
              </a:buClr>
              <a:buSzPct val="150000"/>
              <a:buFont typeface="Wingdings" panose="05000000000000000000" pitchFamily="2" charset="2"/>
              <a:buChar char="ü"/>
            </a:pPr>
            <a:endParaRPr lang="es-ES" dirty="0"/>
          </a:p>
          <a:p>
            <a:pPr marL="342900" indent="-342900" algn="l" eaLnBrk="1" hangingPunct="1">
              <a:buClr>
                <a:schemeClr val="tx1">
                  <a:lumMod val="50000"/>
                  <a:lumOff val="50000"/>
                </a:schemeClr>
              </a:buClr>
              <a:buSzPct val="150000"/>
              <a:buFont typeface="Wingdings" panose="05000000000000000000" pitchFamily="2" charset="2"/>
              <a:buChar char="ü"/>
            </a:pPr>
            <a:r>
              <a:rPr lang="es-ES" dirty="0" smtClean="0"/>
              <a:t>Controlar la correcta gestión de RAEE por parte de los proveedores y gestores</a:t>
            </a:r>
          </a:p>
          <a:p>
            <a:pPr algn="l" eaLnBrk="1" hangingPunct="1">
              <a:buClr>
                <a:schemeClr val="tx1">
                  <a:lumMod val="50000"/>
                  <a:lumOff val="50000"/>
                </a:schemeClr>
              </a:buClr>
              <a:buSzPct val="150000"/>
            </a:pPr>
            <a:endParaRPr lang="es-ES" dirty="0">
              <a:solidFill>
                <a:schemeClr val="tx1"/>
              </a:solidFill>
              <a:ea typeface="MS PGothic" pitchFamily="34" charset="-128"/>
              <a:sym typeface="Arial" pitchFamily="34" charset="0"/>
            </a:endParaRPr>
          </a:p>
        </p:txBody>
      </p:sp>
      <p:sp>
        <p:nvSpPr>
          <p:cNvPr id="12" name="1 Título"/>
          <p:cNvSpPr txBox="1">
            <a:spLocks/>
          </p:cNvSpPr>
          <p:nvPr/>
        </p:nvSpPr>
        <p:spPr bwMode="auto">
          <a:xfrm>
            <a:off x="142343" y="119063"/>
            <a:ext cx="8785225"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36000" bIns="36000">
            <a:spAutoFit/>
          </a:bodyPr>
          <a:lstStyle>
            <a:lvl1pPr algn="l" defTabSz="457200" eaLnBrk="0" hangingPunct="0">
              <a:spcBef>
                <a:spcPct val="20000"/>
              </a:spcBef>
              <a:buClr>
                <a:schemeClr val="tx2"/>
              </a:buClr>
              <a:buSzPct val="200000"/>
              <a:buChar char="•"/>
              <a:defRPr>
                <a:solidFill>
                  <a:schemeClr val="tx1"/>
                </a:solidFill>
                <a:latin typeface="Arial" pitchFamily="34" charset="0"/>
              </a:defRPr>
            </a:lvl1pPr>
            <a:lvl2pPr marL="742950" indent="-285750" algn="l" defTabSz="457200"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defTabSz="457200" eaLnBrk="0" hangingPunct="0">
              <a:spcBef>
                <a:spcPct val="20000"/>
              </a:spcBef>
              <a:buClr>
                <a:schemeClr val="tx1"/>
              </a:buClr>
              <a:buChar char="•"/>
              <a:defRPr sz="1400">
                <a:solidFill>
                  <a:schemeClr val="tx1"/>
                </a:solidFill>
                <a:latin typeface="Arial" pitchFamily="34" charset="0"/>
              </a:defRPr>
            </a:lvl3pPr>
            <a:lvl4pPr marL="1600200" indent="-228600" algn="l" defTabSz="457200" eaLnBrk="0" hangingPunct="0">
              <a:spcBef>
                <a:spcPct val="20000"/>
              </a:spcBef>
              <a:buChar char="–"/>
              <a:defRPr sz="2000">
                <a:solidFill>
                  <a:schemeClr val="tx1"/>
                </a:solidFill>
                <a:latin typeface="Arial" pitchFamily="34" charset="0"/>
              </a:defRPr>
            </a:lvl4pPr>
            <a:lvl5pPr marL="2057400" indent="-228600" algn="l" defTabSz="457200" eaLnBrk="0" hangingPunct="0">
              <a:spcBef>
                <a:spcPct val="20000"/>
              </a:spcBef>
              <a:buChar char="»"/>
              <a:defRPr sz="2000">
                <a:solidFill>
                  <a:schemeClr val="tx1"/>
                </a:solidFill>
                <a:latin typeface="Arial" pitchFamily="34" charset="0"/>
              </a:defRPr>
            </a:lvl5pPr>
            <a:lvl6pPr marL="2514600" indent="-228600" defTabSz="457200" eaLnBrk="0" fontAlgn="base" hangingPunct="0">
              <a:spcBef>
                <a:spcPct val="20000"/>
              </a:spcBef>
              <a:spcAft>
                <a:spcPct val="0"/>
              </a:spcAft>
              <a:buChar char="»"/>
              <a:defRPr sz="2000">
                <a:solidFill>
                  <a:schemeClr val="tx1"/>
                </a:solidFill>
                <a:latin typeface="Arial" pitchFamily="34" charset="0"/>
              </a:defRPr>
            </a:lvl6pPr>
            <a:lvl7pPr marL="2971800" indent="-228600" defTabSz="457200" eaLnBrk="0" fontAlgn="base" hangingPunct="0">
              <a:spcBef>
                <a:spcPct val="20000"/>
              </a:spcBef>
              <a:spcAft>
                <a:spcPct val="0"/>
              </a:spcAft>
              <a:buChar char="»"/>
              <a:defRPr sz="2000">
                <a:solidFill>
                  <a:schemeClr val="tx1"/>
                </a:solidFill>
                <a:latin typeface="Arial" pitchFamily="34" charset="0"/>
              </a:defRPr>
            </a:lvl7pPr>
            <a:lvl8pPr marL="3429000" indent="-228600" defTabSz="457200" eaLnBrk="0" fontAlgn="base" hangingPunct="0">
              <a:spcBef>
                <a:spcPct val="20000"/>
              </a:spcBef>
              <a:spcAft>
                <a:spcPct val="0"/>
              </a:spcAft>
              <a:buChar char="»"/>
              <a:defRPr sz="2000">
                <a:solidFill>
                  <a:schemeClr val="tx1"/>
                </a:solidFill>
                <a:latin typeface="Arial" pitchFamily="34" charset="0"/>
              </a:defRPr>
            </a:lvl8pPr>
            <a:lvl9pPr marL="3886200" indent="-228600" defTabSz="457200" eaLnBrk="0" fontAlgn="base" hangingPunct="0">
              <a:spcBef>
                <a:spcPct val="20000"/>
              </a:spcBef>
              <a:spcAft>
                <a:spcPct val="0"/>
              </a:spcAft>
              <a:buChar char="»"/>
              <a:defRPr sz="2000">
                <a:solidFill>
                  <a:schemeClr val="tx1"/>
                </a:solidFill>
                <a:latin typeface="Arial" pitchFamily="34" charset="0"/>
              </a:defRPr>
            </a:lvl9pPr>
          </a:lstStyle>
          <a:p>
            <a:pPr>
              <a:spcBef>
                <a:spcPct val="0"/>
              </a:spcBef>
              <a:buClrTx/>
              <a:buSzTx/>
              <a:buFontTx/>
              <a:buNone/>
            </a:pPr>
            <a:r>
              <a:rPr lang="es-ES" altLang="es-ES" sz="3000" dirty="0" smtClean="0">
                <a:solidFill>
                  <a:srgbClr val="61B8CD"/>
                </a:solidFill>
              </a:rPr>
              <a:t>Principios de Gestión de E-</a:t>
            </a:r>
            <a:r>
              <a:rPr lang="es-ES" altLang="es-ES" sz="3000" dirty="0" err="1" smtClean="0">
                <a:solidFill>
                  <a:srgbClr val="61B8CD"/>
                </a:solidFill>
              </a:rPr>
              <a:t>Waste</a:t>
            </a:r>
            <a:r>
              <a:rPr lang="es-ES" altLang="es-ES" sz="3000" dirty="0" smtClean="0">
                <a:solidFill>
                  <a:srgbClr val="61B8CD"/>
                </a:solidFill>
              </a:rPr>
              <a:t> en Telefónica</a:t>
            </a:r>
            <a:endParaRPr lang="es-ES" altLang="es-ES" sz="3000" dirty="0">
              <a:solidFill>
                <a:srgbClr val="61B8CD"/>
              </a:solidFill>
            </a:endParaRPr>
          </a:p>
        </p:txBody>
      </p:sp>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692696"/>
            <a:ext cx="8855999" cy="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252645493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2 Diagrama"/>
          <p:cNvGraphicFramePr/>
          <p:nvPr>
            <p:extLst>
              <p:ext uri="{D42A27DB-BD31-4B8C-83A1-F6EECF244321}">
                <p14:modId xmlns:p14="http://schemas.microsoft.com/office/powerpoint/2010/main" val="259949927"/>
              </p:ext>
            </p:extLst>
          </p:nvPr>
        </p:nvGraphicFramePr>
        <p:xfrm>
          <a:off x="971600" y="981472"/>
          <a:ext cx="7920880" cy="47517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C:\Program Files\Microsoft Office\MEDIA\CAGCAT10\j0300840.wmf"/>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15616" y="1268760"/>
            <a:ext cx="602149" cy="507201"/>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te01776\AppData\Local\Microsoft\Windows\Temporary Internet Files\Content.IE5\K6HYB6SJ\MC900287633[1].wmf"/>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43608" y="4869160"/>
            <a:ext cx="610546" cy="499875"/>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C:\Users\te01776\AppData\Local\Microsoft\Windows\Temporary Internet Files\Content.IE5\K6HYB6SJ\MC900241635[1].wmf"/>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475656" y="3867835"/>
            <a:ext cx="676027" cy="641285"/>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descr="C:\Users\te01776\AppData\Local\Microsoft\Windows\Temporary Internet Files\Content.IE5\MWDDT8HV\MP900423022[1].jp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619672" y="2204864"/>
            <a:ext cx="504056" cy="504056"/>
          </a:xfrm>
          <a:prstGeom prst="rect">
            <a:avLst/>
          </a:prstGeom>
          <a:noFill/>
          <a:extLst>
            <a:ext uri="{909E8E84-426E-40DD-AFC4-6F175D3DCCD1}">
              <a14:hiddenFill xmlns:a14="http://schemas.microsoft.com/office/drawing/2010/main">
                <a:solidFill>
                  <a:srgbClr val="FFFFFF"/>
                </a:solidFill>
              </a14:hiddenFill>
            </a:ext>
          </a:extLst>
        </p:spPr>
      </p:pic>
      <p:pic>
        <p:nvPicPr>
          <p:cNvPr id="2059" name="Picture 11" descr="C:\Users\te01776\AppData\Local\Microsoft\Windows\Temporary Internet Files\Content.IE5\269PG5D3\MP900438810[1].jp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691680" y="3145207"/>
            <a:ext cx="556172" cy="417965"/>
          </a:xfrm>
          <a:prstGeom prst="rect">
            <a:avLst/>
          </a:prstGeom>
          <a:noFill/>
          <a:extLst>
            <a:ext uri="{909E8E84-426E-40DD-AFC4-6F175D3DCCD1}">
              <a14:hiddenFill xmlns:a14="http://schemas.microsoft.com/office/drawing/2010/main">
                <a:solidFill>
                  <a:srgbClr val="FFFFFF"/>
                </a:solidFill>
              </a14:hiddenFill>
            </a:ext>
          </a:extLst>
        </p:spPr>
      </p:pic>
      <p:sp>
        <p:nvSpPr>
          <p:cNvPr id="10" name="1 Título"/>
          <p:cNvSpPr txBox="1">
            <a:spLocks/>
          </p:cNvSpPr>
          <p:nvPr/>
        </p:nvSpPr>
        <p:spPr bwMode="auto">
          <a:xfrm>
            <a:off x="142343" y="119063"/>
            <a:ext cx="8785225"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36000" bIns="36000">
            <a:spAutoFit/>
          </a:bodyPr>
          <a:lstStyle>
            <a:lvl1pPr algn="l" defTabSz="457200" eaLnBrk="0" hangingPunct="0">
              <a:spcBef>
                <a:spcPct val="20000"/>
              </a:spcBef>
              <a:buClr>
                <a:schemeClr val="tx2"/>
              </a:buClr>
              <a:buSzPct val="200000"/>
              <a:buChar char="•"/>
              <a:defRPr>
                <a:solidFill>
                  <a:schemeClr val="tx1"/>
                </a:solidFill>
                <a:latin typeface="Arial" pitchFamily="34" charset="0"/>
              </a:defRPr>
            </a:lvl1pPr>
            <a:lvl2pPr marL="742950" indent="-285750" algn="l" defTabSz="457200" eaLnBrk="0" hangingPunct="0">
              <a:spcBef>
                <a:spcPct val="20000"/>
              </a:spcBef>
              <a:buClr>
                <a:schemeClr val="tx2"/>
              </a:buClr>
              <a:buFont typeface="Wingdings" pitchFamily="2" charset="2"/>
              <a:buChar char="§"/>
              <a:defRPr sz="1600">
                <a:solidFill>
                  <a:schemeClr val="tx1"/>
                </a:solidFill>
                <a:latin typeface="Arial" pitchFamily="34" charset="0"/>
              </a:defRPr>
            </a:lvl2pPr>
            <a:lvl3pPr marL="1143000" indent="-228600" algn="l" defTabSz="457200" eaLnBrk="0" hangingPunct="0">
              <a:spcBef>
                <a:spcPct val="20000"/>
              </a:spcBef>
              <a:buClr>
                <a:schemeClr val="tx1"/>
              </a:buClr>
              <a:buChar char="•"/>
              <a:defRPr sz="1400">
                <a:solidFill>
                  <a:schemeClr val="tx1"/>
                </a:solidFill>
                <a:latin typeface="Arial" pitchFamily="34" charset="0"/>
              </a:defRPr>
            </a:lvl3pPr>
            <a:lvl4pPr marL="1600200" indent="-228600" algn="l" defTabSz="457200" eaLnBrk="0" hangingPunct="0">
              <a:spcBef>
                <a:spcPct val="20000"/>
              </a:spcBef>
              <a:buChar char="–"/>
              <a:defRPr sz="2000">
                <a:solidFill>
                  <a:schemeClr val="tx1"/>
                </a:solidFill>
                <a:latin typeface="Arial" pitchFamily="34" charset="0"/>
              </a:defRPr>
            </a:lvl4pPr>
            <a:lvl5pPr marL="2057400" indent="-228600" algn="l" defTabSz="457200" eaLnBrk="0" hangingPunct="0">
              <a:spcBef>
                <a:spcPct val="20000"/>
              </a:spcBef>
              <a:buChar char="»"/>
              <a:defRPr sz="2000">
                <a:solidFill>
                  <a:schemeClr val="tx1"/>
                </a:solidFill>
                <a:latin typeface="Arial" pitchFamily="34" charset="0"/>
              </a:defRPr>
            </a:lvl5pPr>
            <a:lvl6pPr marL="2514600" indent="-228600" defTabSz="457200" eaLnBrk="0" fontAlgn="base" hangingPunct="0">
              <a:spcBef>
                <a:spcPct val="20000"/>
              </a:spcBef>
              <a:spcAft>
                <a:spcPct val="0"/>
              </a:spcAft>
              <a:buChar char="»"/>
              <a:defRPr sz="2000">
                <a:solidFill>
                  <a:schemeClr val="tx1"/>
                </a:solidFill>
                <a:latin typeface="Arial" pitchFamily="34" charset="0"/>
              </a:defRPr>
            </a:lvl6pPr>
            <a:lvl7pPr marL="2971800" indent="-228600" defTabSz="457200" eaLnBrk="0" fontAlgn="base" hangingPunct="0">
              <a:spcBef>
                <a:spcPct val="20000"/>
              </a:spcBef>
              <a:spcAft>
                <a:spcPct val="0"/>
              </a:spcAft>
              <a:buChar char="»"/>
              <a:defRPr sz="2000">
                <a:solidFill>
                  <a:schemeClr val="tx1"/>
                </a:solidFill>
                <a:latin typeface="Arial" pitchFamily="34" charset="0"/>
              </a:defRPr>
            </a:lvl7pPr>
            <a:lvl8pPr marL="3429000" indent="-228600" defTabSz="457200" eaLnBrk="0" fontAlgn="base" hangingPunct="0">
              <a:spcBef>
                <a:spcPct val="20000"/>
              </a:spcBef>
              <a:spcAft>
                <a:spcPct val="0"/>
              </a:spcAft>
              <a:buChar char="»"/>
              <a:defRPr sz="2000">
                <a:solidFill>
                  <a:schemeClr val="tx1"/>
                </a:solidFill>
                <a:latin typeface="Arial" pitchFamily="34" charset="0"/>
              </a:defRPr>
            </a:lvl8pPr>
            <a:lvl9pPr marL="3886200" indent="-228600" defTabSz="457200" eaLnBrk="0" fontAlgn="base" hangingPunct="0">
              <a:spcBef>
                <a:spcPct val="20000"/>
              </a:spcBef>
              <a:spcAft>
                <a:spcPct val="0"/>
              </a:spcAft>
              <a:buChar char="»"/>
              <a:defRPr sz="2000">
                <a:solidFill>
                  <a:schemeClr val="tx1"/>
                </a:solidFill>
                <a:latin typeface="Arial" pitchFamily="34" charset="0"/>
              </a:defRPr>
            </a:lvl9pPr>
          </a:lstStyle>
          <a:p>
            <a:pPr>
              <a:spcBef>
                <a:spcPct val="0"/>
              </a:spcBef>
              <a:buClrTx/>
              <a:buSzTx/>
              <a:buFontTx/>
              <a:buNone/>
            </a:pPr>
            <a:r>
              <a:rPr lang="es-ES" altLang="es-ES" sz="3000" dirty="0" smtClean="0">
                <a:solidFill>
                  <a:srgbClr val="61B8CD"/>
                </a:solidFill>
              </a:rPr>
              <a:t>Retos de Gestión de RAEE</a:t>
            </a:r>
            <a:endParaRPr lang="es-ES" altLang="es-ES" sz="3000" dirty="0">
              <a:solidFill>
                <a:srgbClr val="61B8CD"/>
              </a:solidFill>
            </a:endParaRPr>
          </a:p>
        </p:txBody>
      </p:sp>
      <p:pic>
        <p:nvPicPr>
          <p:cNvPr id="12"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3890" y="582580"/>
            <a:ext cx="8855999" cy="3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4213219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19 Grupo"/>
          <p:cNvGrpSpPr/>
          <p:nvPr/>
        </p:nvGrpSpPr>
        <p:grpSpPr>
          <a:xfrm>
            <a:off x="1584424" y="1412776"/>
            <a:ext cx="5723880" cy="3483220"/>
            <a:chOff x="5604408" y="4697342"/>
            <a:chExt cx="4731755" cy="2093697"/>
          </a:xfrm>
        </p:grpSpPr>
        <p:sp>
          <p:nvSpPr>
            <p:cNvPr id="21" name="20 Rectángulo redondeado"/>
            <p:cNvSpPr/>
            <p:nvPr/>
          </p:nvSpPr>
          <p:spPr>
            <a:xfrm>
              <a:off x="5604408" y="4697342"/>
              <a:ext cx="4731755" cy="209369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21 Rectángulo"/>
            <p:cNvSpPr/>
            <p:nvPr/>
          </p:nvSpPr>
          <p:spPr>
            <a:xfrm>
              <a:off x="5665730" y="4758664"/>
              <a:ext cx="4609111" cy="13117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t" anchorCtr="0">
              <a:noAutofit/>
            </a:bodyPr>
            <a:lstStyle/>
            <a:p>
              <a:pPr algn="ctr" defTabSz="348364">
                <a:lnSpc>
                  <a:spcPct val="90000"/>
                </a:lnSpc>
                <a:spcAft>
                  <a:spcPct val="35000"/>
                </a:spcAft>
              </a:pPr>
              <a:r>
                <a:rPr lang="en-US" sz="2000" b="1" u="none" dirty="0" err="1" smtClean="0"/>
                <a:t>Muchas</a:t>
              </a:r>
              <a:r>
                <a:rPr lang="en-US" sz="2000" b="1" u="none" dirty="0" smtClean="0"/>
                <a:t> Gracias</a:t>
              </a:r>
            </a:p>
            <a:p>
              <a:pPr algn="ctr" defTabSz="348364">
                <a:lnSpc>
                  <a:spcPct val="90000"/>
                </a:lnSpc>
                <a:spcAft>
                  <a:spcPct val="35000"/>
                </a:spcAft>
              </a:pPr>
              <a:r>
                <a:rPr lang="en-US" sz="2000" b="1" u="none" dirty="0" smtClean="0"/>
                <a:t>Thank you</a:t>
              </a:r>
            </a:p>
            <a:p>
              <a:pPr algn="ctr" defTabSz="348364">
                <a:lnSpc>
                  <a:spcPct val="90000"/>
                </a:lnSpc>
                <a:spcAft>
                  <a:spcPct val="35000"/>
                </a:spcAft>
              </a:pPr>
              <a:endParaRPr lang="en-US" sz="2000" b="1" u="none" dirty="0"/>
            </a:p>
            <a:p>
              <a:pPr algn="ctr" defTabSz="348364">
                <a:lnSpc>
                  <a:spcPct val="90000"/>
                </a:lnSpc>
                <a:spcAft>
                  <a:spcPct val="35000"/>
                </a:spcAft>
              </a:pPr>
              <a:r>
                <a:rPr lang="en-US" sz="2000" b="1" u="none" dirty="0" smtClean="0"/>
                <a:t>Daniela Torres</a:t>
              </a:r>
            </a:p>
            <a:p>
              <a:pPr algn="ctr" defTabSz="348364">
                <a:lnSpc>
                  <a:spcPct val="90000"/>
                </a:lnSpc>
                <a:spcAft>
                  <a:spcPct val="35000"/>
                </a:spcAft>
              </a:pPr>
              <a:r>
                <a:rPr lang="en-US" sz="2000" b="1" u="none" dirty="0" smtClean="0">
                  <a:hlinkClick r:id="rId2"/>
                </a:rPr>
                <a:t>daniela.torres@telefonica.com</a:t>
              </a:r>
              <a:endParaRPr lang="en-US" sz="2000" b="1" u="none" dirty="0" smtClean="0"/>
            </a:p>
            <a:p>
              <a:pPr algn="ctr" defTabSz="348364">
                <a:lnSpc>
                  <a:spcPct val="90000"/>
                </a:lnSpc>
                <a:spcAft>
                  <a:spcPct val="35000"/>
                </a:spcAft>
              </a:pPr>
              <a:r>
                <a:rPr lang="en-US" sz="2000" b="1" u="none" dirty="0" smtClean="0"/>
                <a:t>@</a:t>
              </a:r>
              <a:r>
                <a:rPr lang="en-US" sz="2000" b="1" u="none" dirty="0" err="1" smtClean="0"/>
                <a:t>TEF_gren</a:t>
              </a:r>
              <a:endParaRPr lang="en-US" sz="2000" u="none" dirty="0"/>
            </a:p>
          </p:txBody>
        </p:sp>
      </p:grpSp>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8462" y="4193494"/>
            <a:ext cx="1835803" cy="500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round/>
                <a:headEnd/>
                <a:tailEnd/>
              </a14:hiddenLine>
            </a:ext>
          </a:extLst>
        </p:spPr>
      </p:pic>
    </p:spTree>
    <p:extLst>
      <p:ext uri="{BB962C8B-B14F-4D97-AF65-F5344CB8AC3E}">
        <p14:creationId xmlns:p14="http://schemas.microsoft.com/office/powerpoint/2010/main" val="24167817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p:cNvSpPr>
            <a:spLocks noChangeAspect="1"/>
          </p:cNvSpPr>
          <p:nvPr/>
        </p:nvSpPr>
        <p:spPr bwMode="auto">
          <a:xfrm>
            <a:off x="2627784" y="2924944"/>
            <a:ext cx="3813175" cy="1054100"/>
          </a:xfrm>
          <a:custGeom>
            <a:avLst/>
            <a:gdLst>
              <a:gd name="T0" fmla="*/ 0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600"/>
              <a:gd name="T160" fmla="*/ 0 h 21600"/>
              <a:gd name="T161" fmla="*/ 21600 w 21600"/>
              <a:gd name="T162" fmla="*/ 21600 h 216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600" h="21600">
                <a:moveTo>
                  <a:pt x="21600" y="21064"/>
                </a:moveTo>
                <a:cubicBezTo>
                  <a:pt x="21600" y="20776"/>
                  <a:pt x="16158" y="20540"/>
                  <a:pt x="10801" y="20540"/>
                </a:cubicBezTo>
                <a:cubicBezTo>
                  <a:pt x="5443" y="20540"/>
                  <a:pt x="0" y="20776"/>
                  <a:pt x="0" y="21064"/>
                </a:cubicBezTo>
                <a:cubicBezTo>
                  <a:pt x="0" y="21350"/>
                  <a:pt x="5443" y="21600"/>
                  <a:pt x="10801" y="21600"/>
                </a:cubicBezTo>
                <a:cubicBezTo>
                  <a:pt x="16158" y="21599"/>
                  <a:pt x="21600" y="21350"/>
                  <a:pt x="21600" y="21064"/>
                </a:cubicBezTo>
                <a:close/>
                <a:moveTo>
                  <a:pt x="16099" y="3340"/>
                </a:moveTo>
                <a:cubicBezTo>
                  <a:pt x="16246" y="3334"/>
                  <a:pt x="16394" y="2835"/>
                  <a:pt x="16425" y="2245"/>
                </a:cubicBezTo>
                <a:cubicBezTo>
                  <a:pt x="16461" y="1634"/>
                  <a:pt x="16365" y="1165"/>
                  <a:pt x="16216" y="1179"/>
                </a:cubicBezTo>
                <a:cubicBezTo>
                  <a:pt x="16070" y="1180"/>
                  <a:pt x="15924" y="1670"/>
                  <a:pt x="15889" y="2280"/>
                </a:cubicBezTo>
                <a:cubicBezTo>
                  <a:pt x="15858" y="2875"/>
                  <a:pt x="15949" y="3352"/>
                  <a:pt x="16099" y="3340"/>
                </a:cubicBezTo>
                <a:close/>
                <a:moveTo>
                  <a:pt x="2148" y="6604"/>
                </a:moveTo>
                <a:lnTo>
                  <a:pt x="2183" y="6497"/>
                </a:lnTo>
                <a:cubicBezTo>
                  <a:pt x="2134" y="6207"/>
                  <a:pt x="2116" y="5697"/>
                  <a:pt x="2119" y="5390"/>
                </a:cubicBezTo>
                <a:cubicBezTo>
                  <a:pt x="2136" y="2842"/>
                  <a:pt x="2874" y="1400"/>
                  <a:pt x="4024" y="1400"/>
                </a:cubicBezTo>
                <a:lnTo>
                  <a:pt x="4661" y="1400"/>
                </a:lnTo>
                <a:cubicBezTo>
                  <a:pt x="4291" y="2185"/>
                  <a:pt x="3981" y="3230"/>
                  <a:pt x="3743" y="5197"/>
                </a:cubicBezTo>
                <a:cubicBezTo>
                  <a:pt x="3640" y="6043"/>
                  <a:pt x="3153" y="10591"/>
                  <a:pt x="2954" y="12638"/>
                </a:cubicBezTo>
                <a:cubicBezTo>
                  <a:pt x="2706" y="15072"/>
                  <a:pt x="2548" y="16177"/>
                  <a:pt x="2352" y="16582"/>
                </a:cubicBezTo>
                <a:lnTo>
                  <a:pt x="2385" y="16802"/>
                </a:lnTo>
                <a:cubicBezTo>
                  <a:pt x="2937" y="16925"/>
                  <a:pt x="3266" y="15896"/>
                  <a:pt x="3478" y="13994"/>
                </a:cubicBezTo>
                <a:cubicBezTo>
                  <a:pt x="3680" y="12197"/>
                  <a:pt x="3947" y="9336"/>
                  <a:pt x="4078" y="8064"/>
                </a:cubicBezTo>
                <a:cubicBezTo>
                  <a:pt x="4502" y="3971"/>
                  <a:pt x="4688" y="2248"/>
                  <a:pt x="5026" y="1400"/>
                </a:cubicBezTo>
                <a:cubicBezTo>
                  <a:pt x="5497" y="1389"/>
                  <a:pt x="5951" y="1389"/>
                  <a:pt x="5951" y="1389"/>
                </a:cubicBezTo>
                <a:cubicBezTo>
                  <a:pt x="6458" y="1340"/>
                  <a:pt x="6674" y="880"/>
                  <a:pt x="6832" y="165"/>
                </a:cubicBezTo>
                <a:lnTo>
                  <a:pt x="6796" y="0"/>
                </a:lnTo>
                <a:cubicBezTo>
                  <a:pt x="6670" y="251"/>
                  <a:pt x="6395" y="302"/>
                  <a:pt x="6162" y="303"/>
                </a:cubicBezTo>
                <a:lnTo>
                  <a:pt x="3875" y="303"/>
                </a:lnTo>
                <a:cubicBezTo>
                  <a:pt x="2588" y="303"/>
                  <a:pt x="1799" y="1846"/>
                  <a:pt x="1671" y="4142"/>
                </a:cubicBezTo>
                <a:cubicBezTo>
                  <a:pt x="1608" y="5253"/>
                  <a:pt x="1777" y="6456"/>
                  <a:pt x="2148" y="6604"/>
                </a:cubicBezTo>
                <a:close/>
                <a:moveTo>
                  <a:pt x="6336" y="9602"/>
                </a:moveTo>
                <a:cubicBezTo>
                  <a:pt x="6013" y="11310"/>
                  <a:pt x="5562" y="12860"/>
                  <a:pt x="5174" y="12860"/>
                </a:cubicBezTo>
                <a:cubicBezTo>
                  <a:pt x="5009" y="12881"/>
                  <a:pt x="4936" y="12535"/>
                  <a:pt x="4940" y="11843"/>
                </a:cubicBezTo>
                <a:cubicBezTo>
                  <a:pt x="4940" y="11428"/>
                  <a:pt x="4966" y="10844"/>
                  <a:pt x="4989" y="10550"/>
                </a:cubicBezTo>
                <a:cubicBezTo>
                  <a:pt x="5355" y="9874"/>
                  <a:pt x="5728" y="9115"/>
                  <a:pt x="6060" y="7863"/>
                </a:cubicBezTo>
                <a:cubicBezTo>
                  <a:pt x="6246" y="7137"/>
                  <a:pt x="6370" y="6407"/>
                  <a:pt x="6376" y="5655"/>
                </a:cubicBezTo>
                <a:cubicBezTo>
                  <a:pt x="6380" y="4944"/>
                  <a:pt x="6257" y="4583"/>
                  <a:pt x="6015" y="4569"/>
                </a:cubicBezTo>
                <a:cubicBezTo>
                  <a:pt x="5664" y="4554"/>
                  <a:pt x="5243" y="5429"/>
                  <a:pt x="4968" y="6495"/>
                </a:cubicBezTo>
                <a:cubicBezTo>
                  <a:pt x="4609" y="7927"/>
                  <a:pt x="4332" y="9949"/>
                  <a:pt x="4325" y="11748"/>
                </a:cubicBezTo>
                <a:cubicBezTo>
                  <a:pt x="4321" y="13024"/>
                  <a:pt x="4487" y="14037"/>
                  <a:pt x="4936" y="13977"/>
                </a:cubicBezTo>
                <a:cubicBezTo>
                  <a:pt x="5417" y="13928"/>
                  <a:pt x="5891" y="12574"/>
                  <a:pt x="6133" y="11593"/>
                </a:cubicBezTo>
                <a:cubicBezTo>
                  <a:pt x="6105" y="12014"/>
                  <a:pt x="6085" y="12408"/>
                  <a:pt x="6085" y="12732"/>
                </a:cubicBezTo>
                <a:cubicBezTo>
                  <a:pt x="6085" y="13864"/>
                  <a:pt x="6239" y="14667"/>
                  <a:pt x="6544" y="15009"/>
                </a:cubicBezTo>
                <a:lnTo>
                  <a:pt x="6605" y="14903"/>
                </a:lnTo>
                <a:cubicBezTo>
                  <a:pt x="6578" y="14599"/>
                  <a:pt x="6571" y="14277"/>
                  <a:pt x="6578" y="13919"/>
                </a:cubicBezTo>
                <a:cubicBezTo>
                  <a:pt x="6599" y="12819"/>
                  <a:pt x="6719" y="11576"/>
                  <a:pt x="6894" y="9943"/>
                </a:cubicBezTo>
                <a:cubicBezTo>
                  <a:pt x="7231" y="6855"/>
                  <a:pt x="7720" y="3323"/>
                  <a:pt x="7934" y="1239"/>
                </a:cubicBezTo>
                <a:lnTo>
                  <a:pt x="7422" y="1596"/>
                </a:lnTo>
                <a:cubicBezTo>
                  <a:pt x="7342" y="1656"/>
                  <a:pt x="7292" y="1877"/>
                  <a:pt x="7265" y="2089"/>
                </a:cubicBezTo>
                <a:cubicBezTo>
                  <a:pt x="7018" y="4008"/>
                  <a:pt x="6764" y="6055"/>
                  <a:pt x="6447" y="8720"/>
                </a:cubicBezTo>
                <a:cubicBezTo>
                  <a:pt x="6410" y="9004"/>
                  <a:pt x="6376" y="9305"/>
                  <a:pt x="6336" y="9602"/>
                </a:cubicBezTo>
                <a:close/>
                <a:moveTo>
                  <a:pt x="5856" y="5490"/>
                </a:moveTo>
                <a:cubicBezTo>
                  <a:pt x="5935" y="5490"/>
                  <a:pt x="5963" y="5689"/>
                  <a:pt x="5963" y="5944"/>
                </a:cubicBezTo>
                <a:cubicBezTo>
                  <a:pt x="5963" y="7146"/>
                  <a:pt x="5556" y="8686"/>
                  <a:pt x="5037" y="9810"/>
                </a:cubicBezTo>
                <a:cubicBezTo>
                  <a:pt x="5167" y="7947"/>
                  <a:pt x="5534" y="5472"/>
                  <a:pt x="5856" y="5490"/>
                </a:cubicBezTo>
                <a:close/>
                <a:moveTo>
                  <a:pt x="14619" y="12665"/>
                </a:moveTo>
                <a:cubicBezTo>
                  <a:pt x="14619" y="13518"/>
                  <a:pt x="14767" y="14043"/>
                  <a:pt x="15050" y="14014"/>
                </a:cubicBezTo>
                <a:cubicBezTo>
                  <a:pt x="15344" y="13993"/>
                  <a:pt x="15642" y="13359"/>
                  <a:pt x="15889" y="12489"/>
                </a:cubicBezTo>
                <a:cubicBezTo>
                  <a:pt x="15936" y="13410"/>
                  <a:pt x="16117" y="14077"/>
                  <a:pt x="16488" y="14028"/>
                </a:cubicBezTo>
                <a:cubicBezTo>
                  <a:pt x="16874" y="13977"/>
                  <a:pt x="17243" y="13095"/>
                  <a:pt x="17499" y="12073"/>
                </a:cubicBezTo>
                <a:lnTo>
                  <a:pt x="17499" y="12368"/>
                </a:lnTo>
                <a:cubicBezTo>
                  <a:pt x="17499" y="13315"/>
                  <a:pt x="17633" y="14021"/>
                  <a:pt x="17929" y="14021"/>
                </a:cubicBezTo>
                <a:cubicBezTo>
                  <a:pt x="18248" y="14021"/>
                  <a:pt x="18615" y="13146"/>
                  <a:pt x="18906" y="11641"/>
                </a:cubicBezTo>
                <a:lnTo>
                  <a:pt x="18914" y="11657"/>
                </a:lnTo>
                <a:cubicBezTo>
                  <a:pt x="18888" y="12014"/>
                  <a:pt x="18856" y="12620"/>
                  <a:pt x="18852" y="13025"/>
                </a:cubicBezTo>
                <a:cubicBezTo>
                  <a:pt x="18847" y="14159"/>
                  <a:pt x="19032" y="14816"/>
                  <a:pt x="19289" y="15003"/>
                </a:cubicBezTo>
                <a:lnTo>
                  <a:pt x="19352" y="14911"/>
                </a:lnTo>
                <a:cubicBezTo>
                  <a:pt x="19258" y="14087"/>
                  <a:pt x="19389" y="12036"/>
                  <a:pt x="19444" y="11353"/>
                </a:cubicBezTo>
                <a:cubicBezTo>
                  <a:pt x="19635" y="9107"/>
                  <a:pt x="19938" y="6540"/>
                  <a:pt x="20114" y="5205"/>
                </a:cubicBezTo>
                <a:cubicBezTo>
                  <a:pt x="20034" y="4955"/>
                  <a:pt x="19847" y="4786"/>
                  <a:pt x="19647" y="4753"/>
                </a:cubicBezTo>
                <a:cubicBezTo>
                  <a:pt x="18983" y="4665"/>
                  <a:pt x="18316" y="5664"/>
                  <a:pt x="17830" y="8808"/>
                </a:cubicBezTo>
                <a:cubicBezTo>
                  <a:pt x="17746" y="9356"/>
                  <a:pt x="17655" y="9985"/>
                  <a:pt x="17587" y="10651"/>
                </a:cubicBezTo>
                <a:cubicBezTo>
                  <a:pt x="17518" y="10987"/>
                  <a:pt x="17445" y="11287"/>
                  <a:pt x="17415" y="11395"/>
                </a:cubicBezTo>
                <a:cubicBezTo>
                  <a:pt x="17239" y="12014"/>
                  <a:pt x="16989" y="12807"/>
                  <a:pt x="16735" y="12819"/>
                </a:cubicBezTo>
                <a:cubicBezTo>
                  <a:pt x="16590" y="12829"/>
                  <a:pt x="16510" y="12458"/>
                  <a:pt x="16514" y="11799"/>
                </a:cubicBezTo>
                <a:cubicBezTo>
                  <a:pt x="16516" y="9284"/>
                  <a:pt x="17124" y="5464"/>
                  <a:pt x="17538" y="5454"/>
                </a:cubicBezTo>
                <a:cubicBezTo>
                  <a:pt x="17650" y="5454"/>
                  <a:pt x="17700" y="5635"/>
                  <a:pt x="17700" y="5987"/>
                </a:cubicBezTo>
                <a:cubicBezTo>
                  <a:pt x="17700" y="6406"/>
                  <a:pt x="17621" y="6981"/>
                  <a:pt x="17510" y="7352"/>
                </a:cubicBezTo>
                <a:lnTo>
                  <a:pt x="17558" y="7513"/>
                </a:lnTo>
                <a:cubicBezTo>
                  <a:pt x="17835" y="7124"/>
                  <a:pt x="18093" y="6420"/>
                  <a:pt x="18095" y="5671"/>
                </a:cubicBezTo>
                <a:cubicBezTo>
                  <a:pt x="18095" y="4817"/>
                  <a:pt x="17825" y="4658"/>
                  <a:pt x="17585" y="4665"/>
                </a:cubicBezTo>
                <a:cubicBezTo>
                  <a:pt x="17262" y="4681"/>
                  <a:pt x="16861" y="5257"/>
                  <a:pt x="16539" y="6540"/>
                </a:cubicBezTo>
                <a:cubicBezTo>
                  <a:pt x="16136" y="8149"/>
                  <a:pt x="15927" y="10079"/>
                  <a:pt x="15886" y="11456"/>
                </a:cubicBezTo>
                <a:cubicBezTo>
                  <a:pt x="15702" y="12240"/>
                  <a:pt x="15496" y="12775"/>
                  <a:pt x="15358" y="12781"/>
                </a:cubicBezTo>
                <a:cubicBezTo>
                  <a:pt x="15281" y="12792"/>
                  <a:pt x="15225" y="12639"/>
                  <a:pt x="15224" y="12343"/>
                </a:cubicBezTo>
                <a:cubicBezTo>
                  <a:pt x="15224" y="12081"/>
                  <a:pt x="15266" y="11546"/>
                  <a:pt x="15336" y="10851"/>
                </a:cubicBezTo>
                <a:cubicBezTo>
                  <a:pt x="15515" y="9231"/>
                  <a:pt x="15772" y="7212"/>
                  <a:pt x="16090" y="4811"/>
                </a:cubicBezTo>
                <a:cubicBezTo>
                  <a:pt x="16090" y="4811"/>
                  <a:pt x="15608" y="5106"/>
                  <a:pt x="15538" y="5178"/>
                </a:cubicBezTo>
                <a:cubicBezTo>
                  <a:pt x="15465" y="5246"/>
                  <a:pt x="15409" y="5421"/>
                  <a:pt x="15377" y="5663"/>
                </a:cubicBezTo>
                <a:cubicBezTo>
                  <a:pt x="15170" y="7261"/>
                  <a:pt x="14925" y="9107"/>
                  <a:pt x="14773" y="10483"/>
                </a:cubicBezTo>
                <a:cubicBezTo>
                  <a:pt x="14677" y="11351"/>
                  <a:pt x="14619" y="12173"/>
                  <a:pt x="14619" y="12665"/>
                </a:cubicBezTo>
                <a:close/>
                <a:moveTo>
                  <a:pt x="19138" y="5785"/>
                </a:moveTo>
                <a:cubicBezTo>
                  <a:pt x="19291" y="5520"/>
                  <a:pt x="19420" y="5503"/>
                  <a:pt x="19529" y="5583"/>
                </a:cubicBezTo>
                <a:cubicBezTo>
                  <a:pt x="19488" y="5895"/>
                  <a:pt x="19302" y="7261"/>
                  <a:pt x="19158" y="8490"/>
                </a:cubicBezTo>
                <a:cubicBezTo>
                  <a:pt x="18929" y="10417"/>
                  <a:pt x="18585" y="12362"/>
                  <a:pt x="18267" y="12639"/>
                </a:cubicBezTo>
                <a:cubicBezTo>
                  <a:pt x="18157" y="12754"/>
                  <a:pt x="18093" y="12583"/>
                  <a:pt x="18095" y="12183"/>
                </a:cubicBezTo>
                <a:cubicBezTo>
                  <a:pt x="18104" y="10478"/>
                  <a:pt x="18619" y="6672"/>
                  <a:pt x="19138" y="5785"/>
                </a:cubicBezTo>
                <a:close/>
                <a:moveTo>
                  <a:pt x="7191" y="11749"/>
                </a:moveTo>
                <a:cubicBezTo>
                  <a:pt x="7187" y="12996"/>
                  <a:pt x="7367" y="14037"/>
                  <a:pt x="7828" y="13977"/>
                </a:cubicBezTo>
                <a:cubicBezTo>
                  <a:pt x="8321" y="13929"/>
                  <a:pt x="8771" y="12887"/>
                  <a:pt x="9160" y="11395"/>
                </a:cubicBezTo>
                <a:cubicBezTo>
                  <a:pt x="9062" y="12352"/>
                  <a:pt x="8978" y="13174"/>
                  <a:pt x="8928" y="13618"/>
                </a:cubicBezTo>
                <a:cubicBezTo>
                  <a:pt x="8784" y="14935"/>
                  <a:pt x="8677" y="15997"/>
                  <a:pt x="8456" y="16614"/>
                </a:cubicBezTo>
                <a:lnTo>
                  <a:pt x="8480" y="16775"/>
                </a:lnTo>
                <a:cubicBezTo>
                  <a:pt x="9130" y="16912"/>
                  <a:pt x="9375" y="15243"/>
                  <a:pt x="9643" y="12520"/>
                </a:cubicBezTo>
                <a:cubicBezTo>
                  <a:pt x="9910" y="9793"/>
                  <a:pt x="10137" y="7425"/>
                  <a:pt x="10313" y="5780"/>
                </a:cubicBezTo>
                <a:cubicBezTo>
                  <a:pt x="10598" y="5780"/>
                  <a:pt x="11002" y="5817"/>
                  <a:pt x="11229" y="5631"/>
                </a:cubicBezTo>
                <a:cubicBezTo>
                  <a:pt x="10638" y="6588"/>
                  <a:pt x="10137" y="10023"/>
                  <a:pt x="10196" y="12286"/>
                </a:cubicBezTo>
                <a:cubicBezTo>
                  <a:pt x="10222" y="13286"/>
                  <a:pt x="10386" y="13978"/>
                  <a:pt x="10736" y="13978"/>
                </a:cubicBezTo>
                <a:cubicBezTo>
                  <a:pt x="11413" y="13978"/>
                  <a:pt x="11982" y="11053"/>
                  <a:pt x="12199" y="9126"/>
                </a:cubicBezTo>
                <a:cubicBezTo>
                  <a:pt x="12324" y="8020"/>
                  <a:pt x="12406" y="7075"/>
                  <a:pt x="12420" y="6128"/>
                </a:cubicBezTo>
                <a:cubicBezTo>
                  <a:pt x="12581" y="6026"/>
                  <a:pt x="12735" y="5923"/>
                  <a:pt x="12812" y="5883"/>
                </a:cubicBezTo>
                <a:cubicBezTo>
                  <a:pt x="12960" y="5808"/>
                  <a:pt x="12931" y="6407"/>
                  <a:pt x="12885" y="6856"/>
                </a:cubicBezTo>
                <a:cubicBezTo>
                  <a:pt x="12608" y="9678"/>
                  <a:pt x="12129" y="13774"/>
                  <a:pt x="12127" y="13838"/>
                </a:cubicBezTo>
                <a:lnTo>
                  <a:pt x="12656" y="13838"/>
                </a:lnTo>
                <a:cubicBezTo>
                  <a:pt x="12885" y="12098"/>
                  <a:pt x="13026" y="10986"/>
                  <a:pt x="13209" y="9799"/>
                </a:cubicBezTo>
                <a:cubicBezTo>
                  <a:pt x="13430" y="8408"/>
                  <a:pt x="13922" y="6112"/>
                  <a:pt x="14117" y="6108"/>
                </a:cubicBezTo>
                <a:cubicBezTo>
                  <a:pt x="14187" y="6108"/>
                  <a:pt x="14205" y="6267"/>
                  <a:pt x="14187" y="6515"/>
                </a:cubicBezTo>
                <a:cubicBezTo>
                  <a:pt x="14153" y="7460"/>
                  <a:pt x="13520" y="11075"/>
                  <a:pt x="13530" y="12861"/>
                </a:cubicBezTo>
                <a:cubicBezTo>
                  <a:pt x="13536" y="14028"/>
                  <a:pt x="13704" y="14735"/>
                  <a:pt x="13999" y="15000"/>
                </a:cubicBezTo>
                <a:lnTo>
                  <a:pt x="14060" y="14874"/>
                </a:lnTo>
                <a:cubicBezTo>
                  <a:pt x="14023" y="14619"/>
                  <a:pt x="14018" y="14302"/>
                  <a:pt x="14017" y="13929"/>
                </a:cubicBezTo>
                <a:cubicBezTo>
                  <a:pt x="14012" y="12738"/>
                  <a:pt x="14278" y="10651"/>
                  <a:pt x="14381" y="9842"/>
                </a:cubicBezTo>
                <a:cubicBezTo>
                  <a:pt x="14544" y="8570"/>
                  <a:pt x="14835" y="6713"/>
                  <a:pt x="14816" y="5696"/>
                </a:cubicBezTo>
                <a:cubicBezTo>
                  <a:pt x="14807" y="5197"/>
                  <a:pt x="14704" y="4753"/>
                  <a:pt x="14471" y="4747"/>
                </a:cubicBezTo>
                <a:cubicBezTo>
                  <a:pt x="14040" y="4739"/>
                  <a:pt x="13611" y="6267"/>
                  <a:pt x="13251" y="8318"/>
                </a:cubicBezTo>
                <a:lnTo>
                  <a:pt x="13241" y="8308"/>
                </a:lnTo>
                <a:cubicBezTo>
                  <a:pt x="13385" y="7116"/>
                  <a:pt x="13498" y="6010"/>
                  <a:pt x="13494" y="5471"/>
                </a:cubicBezTo>
                <a:cubicBezTo>
                  <a:pt x="13491" y="4978"/>
                  <a:pt x="13414" y="4785"/>
                  <a:pt x="13253" y="4785"/>
                </a:cubicBezTo>
                <a:cubicBezTo>
                  <a:pt x="13139" y="4797"/>
                  <a:pt x="12985" y="4954"/>
                  <a:pt x="12832" y="5105"/>
                </a:cubicBezTo>
                <a:cubicBezTo>
                  <a:pt x="12619" y="5306"/>
                  <a:pt x="12395" y="5518"/>
                  <a:pt x="12148" y="5706"/>
                </a:cubicBezTo>
                <a:cubicBezTo>
                  <a:pt x="11998" y="5780"/>
                  <a:pt x="11945" y="5882"/>
                  <a:pt x="11950" y="6080"/>
                </a:cubicBezTo>
                <a:cubicBezTo>
                  <a:pt x="11981" y="9212"/>
                  <a:pt x="11397" y="12892"/>
                  <a:pt x="11007" y="12905"/>
                </a:cubicBezTo>
                <a:cubicBezTo>
                  <a:pt x="10840" y="12905"/>
                  <a:pt x="10802" y="12459"/>
                  <a:pt x="10802" y="11843"/>
                </a:cubicBezTo>
                <a:cubicBezTo>
                  <a:pt x="10801" y="9677"/>
                  <a:pt x="11289" y="6041"/>
                  <a:pt x="11765" y="5463"/>
                </a:cubicBezTo>
                <a:cubicBezTo>
                  <a:pt x="11806" y="5421"/>
                  <a:pt x="11847" y="5389"/>
                  <a:pt x="11874" y="5357"/>
                </a:cubicBezTo>
                <a:lnTo>
                  <a:pt x="11935" y="4773"/>
                </a:lnTo>
                <a:cubicBezTo>
                  <a:pt x="11834" y="4850"/>
                  <a:pt x="11593" y="4863"/>
                  <a:pt x="11467" y="4875"/>
                </a:cubicBezTo>
                <a:lnTo>
                  <a:pt x="10421" y="4875"/>
                </a:lnTo>
                <a:cubicBezTo>
                  <a:pt x="10697" y="2471"/>
                  <a:pt x="11085" y="915"/>
                  <a:pt x="11653" y="823"/>
                </a:cubicBezTo>
                <a:cubicBezTo>
                  <a:pt x="12005" y="779"/>
                  <a:pt x="12243" y="1264"/>
                  <a:pt x="12264" y="2003"/>
                </a:cubicBezTo>
                <a:cubicBezTo>
                  <a:pt x="12278" y="2630"/>
                  <a:pt x="12231" y="3141"/>
                  <a:pt x="12093" y="3660"/>
                </a:cubicBezTo>
                <a:lnTo>
                  <a:pt x="12132" y="3802"/>
                </a:lnTo>
                <a:cubicBezTo>
                  <a:pt x="12443" y="3265"/>
                  <a:pt x="12658" y="2353"/>
                  <a:pt x="12659" y="1732"/>
                </a:cubicBezTo>
                <a:cubicBezTo>
                  <a:pt x="12663" y="767"/>
                  <a:pt x="12345" y="175"/>
                  <a:pt x="11837" y="193"/>
                </a:cubicBezTo>
                <a:cubicBezTo>
                  <a:pt x="11191" y="207"/>
                  <a:pt x="10396" y="739"/>
                  <a:pt x="9840" y="4943"/>
                </a:cubicBezTo>
                <a:cubicBezTo>
                  <a:pt x="9674" y="5036"/>
                  <a:pt x="9524" y="5265"/>
                  <a:pt x="9398" y="5758"/>
                </a:cubicBezTo>
                <a:lnTo>
                  <a:pt x="9421" y="5943"/>
                </a:lnTo>
                <a:cubicBezTo>
                  <a:pt x="9511" y="5825"/>
                  <a:pt x="9618" y="5807"/>
                  <a:pt x="9739" y="5807"/>
                </a:cubicBezTo>
                <a:cubicBezTo>
                  <a:pt x="9662" y="6494"/>
                  <a:pt x="9507" y="7990"/>
                  <a:pt x="9354" y="9529"/>
                </a:cubicBezTo>
                <a:cubicBezTo>
                  <a:pt x="8885" y="11784"/>
                  <a:pt x="8415" y="12859"/>
                  <a:pt x="8071" y="12859"/>
                </a:cubicBezTo>
                <a:cubicBezTo>
                  <a:pt x="7883" y="12880"/>
                  <a:pt x="7808" y="12503"/>
                  <a:pt x="7805" y="11842"/>
                </a:cubicBezTo>
                <a:cubicBezTo>
                  <a:pt x="7803" y="11427"/>
                  <a:pt x="7832" y="10850"/>
                  <a:pt x="7854" y="10549"/>
                </a:cubicBezTo>
                <a:cubicBezTo>
                  <a:pt x="8222" y="9873"/>
                  <a:pt x="8592" y="9114"/>
                  <a:pt x="8926" y="7862"/>
                </a:cubicBezTo>
                <a:cubicBezTo>
                  <a:pt x="9110" y="7136"/>
                  <a:pt x="9238" y="6406"/>
                  <a:pt x="9242" y="5654"/>
                </a:cubicBezTo>
                <a:cubicBezTo>
                  <a:pt x="9245" y="4943"/>
                  <a:pt x="9126" y="4582"/>
                  <a:pt x="8880" y="4568"/>
                </a:cubicBezTo>
                <a:cubicBezTo>
                  <a:pt x="8531" y="4553"/>
                  <a:pt x="8109" y="5428"/>
                  <a:pt x="7834" y="6494"/>
                </a:cubicBezTo>
                <a:cubicBezTo>
                  <a:pt x="7475" y="7927"/>
                  <a:pt x="7197" y="9950"/>
                  <a:pt x="7191" y="11749"/>
                </a:cubicBezTo>
                <a:close/>
                <a:moveTo>
                  <a:pt x="8720" y="5490"/>
                </a:moveTo>
                <a:cubicBezTo>
                  <a:pt x="8799" y="5490"/>
                  <a:pt x="8832" y="5689"/>
                  <a:pt x="8832" y="5944"/>
                </a:cubicBezTo>
                <a:cubicBezTo>
                  <a:pt x="8828" y="7146"/>
                  <a:pt x="8425" y="8686"/>
                  <a:pt x="7901" y="9810"/>
                </a:cubicBezTo>
                <a:cubicBezTo>
                  <a:pt x="8033" y="7947"/>
                  <a:pt x="8400" y="5472"/>
                  <a:pt x="8720" y="5490"/>
                </a:cubicBezTo>
                <a:close/>
                <a:moveTo>
                  <a:pt x="8720" y="5490"/>
                </a:moveTo>
              </a:path>
            </a:pathLst>
          </a:custGeom>
          <a:solidFill>
            <a:schemeClr val="accent1"/>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eaLnBrk="0" hangingPunct="0">
              <a:defRPr sz="2800">
                <a:solidFill>
                  <a:srgbClr val="000000"/>
                </a:solidFill>
                <a:latin typeface="Gill Sans" charset="0"/>
                <a:ea typeface="ヒラギノ角ゴ ProN W3" charset="-128"/>
                <a:sym typeface="Gill Sans" charset="0"/>
              </a:defRPr>
            </a:lvl1pPr>
            <a:lvl2pPr marL="37931725" indent="-37474525" eaLnBrk="0" hangingPunct="0">
              <a:defRPr sz="2800">
                <a:solidFill>
                  <a:srgbClr val="000000"/>
                </a:solidFill>
                <a:latin typeface="Gill Sans" charset="0"/>
                <a:ea typeface="ヒラギノ角ゴ ProN W3" charset="-128"/>
                <a:sym typeface="Gill Sans" charset="0"/>
              </a:defRPr>
            </a:lvl2pPr>
            <a:lvl3pPr eaLnBrk="0" hangingPunct="0">
              <a:defRPr sz="2800">
                <a:solidFill>
                  <a:srgbClr val="000000"/>
                </a:solidFill>
                <a:latin typeface="Gill Sans" charset="0"/>
                <a:ea typeface="ヒラギノ角ゴ ProN W3" charset="-128"/>
                <a:sym typeface="Gill Sans" charset="0"/>
              </a:defRPr>
            </a:lvl3pPr>
            <a:lvl4pPr eaLnBrk="0" hangingPunct="0">
              <a:defRPr sz="2800">
                <a:solidFill>
                  <a:srgbClr val="000000"/>
                </a:solidFill>
                <a:latin typeface="Gill Sans" charset="0"/>
                <a:ea typeface="ヒラギノ角ゴ ProN W3" charset="-128"/>
                <a:sym typeface="Gill Sans" charset="0"/>
              </a:defRPr>
            </a:lvl4pPr>
            <a:lvl5pPr eaLnBrk="0" hangingPunct="0">
              <a:defRPr sz="2800">
                <a:solidFill>
                  <a:srgbClr val="000000"/>
                </a:solidFill>
                <a:latin typeface="Gill Sans" charset="0"/>
                <a:ea typeface="ヒラギノ角ゴ ProN W3" charset="-128"/>
                <a:sym typeface="Gill Sans" charset="0"/>
              </a:defRPr>
            </a:lvl5pPr>
            <a:lvl6pPr marL="457200" eaLnBrk="0" fontAlgn="base" hangingPunct="0">
              <a:spcBef>
                <a:spcPct val="0"/>
              </a:spcBef>
              <a:spcAft>
                <a:spcPct val="0"/>
              </a:spcAft>
              <a:defRPr sz="2800">
                <a:solidFill>
                  <a:srgbClr val="000000"/>
                </a:solidFill>
                <a:latin typeface="Gill Sans" charset="0"/>
                <a:ea typeface="ヒラギノ角ゴ ProN W3" charset="-128"/>
                <a:sym typeface="Gill Sans" charset="0"/>
              </a:defRPr>
            </a:lvl6pPr>
            <a:lvl7pPr marL="914400" eaLnBrk="0" fontAlgn="base" hangingPunct="0">
              <a:spcBef>
                <a:spcPct val="0"/>
              </a:spcBef>
              <a:spcAft>
                <a:spcPct val="0"/>
              </a:spcAft>
              <a:defRPr sz="2800">
                <a:solidFill>
                  <a:srgbClr val="000000"/>
                </a:solidFill>
                <a:latin typeface="Gill Sans" charset="0"/>
                <a:ea typeface="ヒラギノ角ゴ ProN W3" charset="-128"/>
                <a:sym typeface="Gill Sans" charset="0"/>
              </a:defRPr>
            </a:lvl7pPr>
            <a:lvl8pPr marL="1371600" eaLnBrk="0" fontAlgn="base" hangingPunct="0">
              <a:spcBef>
                <a:spcPct val="0"/>
              </a:spcBef>
              <a:spcAft>
                <a:spcPct val="0"/>
              </a:spcAft>
              <a:defRPr sz="2800">
                <a:solidFill>
                  <a:srgbClr val="000000"/>
                </a:solidFill>
                <a:latin typeface="Gill Sans" charset="0"/>
                <a:ea typeface="ヒラギノ角ゴ ProN W3" charset="-128"/>
                <a:sym typeface="Gill Sans" charset="0"/>
              </a:defRPr>
            </a:lvl8pPr>
            <a:lvl9pPr marL="1828800" eaLnBrk="0" fontAlgn="base" hangingPunct="0">
              <a:spcBef>
                <a:spcPct val="0"/>
              </a:spcBef>
              <a:spcAft>
                <a:spcPct val="0"/>
              </a:spcAft>
              <a:defRPr sz="2800">
                <a:solidFill>
                  <a:srgbClr val="000000"/>
                </a:solidFill>
                <a:latin typeface="Gill Sans" charset="0"/>
                <a:ea typeface="ヒラギノ角ゴ ProN W3" charset="-128"/>
                <a:sym typeface="Gill Sans" charset="0"/>
              </a:defRPr>
            </a:lvl9pPr>
          </a:lstStyle>
          <a:p>
            <a:pPr eaLnBrk="1" hangingPunct="1"/>
            <a:endParaRPr lang="es-ES_tradnl"/>
          </a:p>
        </p:txBody>
      </p:sp>
    </p:spTree>
    <p:extLst>
      <p:ext uri="{BB962C8B-B14F-4D97-AF65-F5344CB8AC3E}">
        <p14:creationId xmlns:p14="http://schemas.microsoft.com/office/powerpoint/2010/main" val="187074611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hq4K4V6LUiEgze56DAnk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ortadaTelefo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ítulo y subtítu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lefó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SeparataAzu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Telefó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SeparataAzu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Telefó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SeparataAzu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Telefó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SeparataAzu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ierre Telefo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ítulo y subtítu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iseño personalizado">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txDef>
      <a:spPr>
        <a:noFill/>
      </a:spPr>
      <a:bodyPr wrap="square" rtlCol="0">
        <a:spAutoFit/>
      </a:bodyPr>
      <a:lstStyle>
        <a:defPPr algn="l">
          <a:defRPr sz="1800"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Telefónica">
  <a:themeElements>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fontScheme name="Telefónica">
      <a:majorFont>
        <a:latin typeface="Trebuchet MS"/>
        <a:ea typeface="ヒラギノ角ゴ ProN W3"/>
        <a:cs typeface="ヒラギノ角ゴ ProN W3"/>
      </a:majorFont>
      <a:minorFont>
        <a:latin typeface="Trebuchet M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90000"/>
            <a:lumOff val="10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a:ln>
              <a:noFill/>
            </a:ln>
            <a:solidFill>
              <a:schemeClr val="bg2"/>
            </a:solidFill>
            <a:effectLst/>
            <a:latin typeface="Trebuchet MS" panose="020B0603020202020204" pitchFamily="34"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SeparataAzu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Diseño personalizado">
  <a:themeElements>
    <a:clrScheme name="Diseño personalizado 1">
      <a:dk1>
        <a:srgbClr val="123E51"/>
      </a:dk1>
      <a:lt1>
        <a:srgbClr val="FFFFFF"/>
      </a:lt1>
      <a:dk2>
        <a:srgbClr val="00C6D7"/>
      </a:dk2>
      <a:lt2>
        <a:srgbClr val="808080"/>
      </a:lt2>
      <a:accent1>
        <a:srgbClr val="BBE0E3"/>
      </a:accent1>
      <a:accent2>
        <a:srgbClr val="333399"/>
      </a:accent2>
      <a:accent3>
        <a:srgbClr val="FFFFFF"/>
      </a:accent3>
      <a:accent4>
        <a:srgbClr val="0E3444"/>
      </a:accent4>
      <a:accent5>
        <a:srgbClr val="DAEDEF"/>
      </a:accent5>
      <a:accent6>
        <a:srgbClr val="2D2D8A"/>
      </a:accent6>
      <a:hlink>
        <a:srgbClr val="009999"/>
      </a:hlink>
      <a:folHlink>
        <a:srgbClr val="99CC00"/>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pattFill prst="ltVert">
          <a:fgClr>
            <a:srgbClr val="DBEDE3"/>
          </a:fgClr>
          <a:bgClr>
            <a:srgbClr val="FFFFFF"/>
          </a:bgClr>
        </a:pattFill>
        <a:ln>
          <a:noFill/>
        </a:ln>
        <a:extLst>
          <a:ext uri="{91240B29-F687-4F45-9708-019B960494DF}">
            <a14:hiddenLine xmlns:a14="http://schemas.microsoft.com/office/drawing/2010/main" w="9525" algn="ctr">
              <a:solidFill>
                <a:srgbClr val="000000"/>
              </a:solidFill>
              <a:round/>
              <a:headEnd/>
              <a:tailEnd/>
            </a14:hiddenLine>
          </a:ext>
        </a:extLst>
      </a:spPr>
      <a:bodyPr lIns="18288" tIns="0" rIns="0" bIns="0"/>
      <a:lstStyle>
        <a:defPPr>
          <a:defRPr sz="1100" i="1"/>
        </a:defPPr>
      </a:lstStyle>
    </a:spDef>
    <a:lnDef>
      <a:spPr bwMode="auto">
        <a:xfrm>
          <a:off x="0" y="0"/>
          <a:ext cx="1" cy="1"/>
        </a:xfrm>
        <a:custGeom>
          <a:avLst/>
          <a:gdLst/>
          <a:ahLst/>
          <a:cxnLst/>
          <a:rect l="0" t="0" r="0" b="0"/>
          <a:pathLst/>
        </a:custGeom>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smtClean="0">
            <a:ln>
              <a:noFill/>
            </a:ln>
            <a:solidFill>
              <a:srgbClr val="000000"/>
            </a:solidFill>
            <a:effectLst/>
            <a:latin typeface="Arial" pitchFamily="34" charset="0"/>
            <a:ea typeface="ヒラギノ角ゴ ProN W3" charset="-128"/>
            <a:sym typeface="Gill Sans" charset="0"/>
          </a:defRPr>
        </a:defPPr>
      </a:lstStyle>
    </a:lnDef>
  </a:objectDefaults>
  <a:extraClrSchemeLst>
    <a:extraClrScheme>
      <a:clrScheme name="Diseño personalizado 1">
        <a:dk1>
          <a:srgbClr val="123E51"/>
        </a:dk1>
        <a:lt1>
          <a:srgbClr val="FFFFFF"/>
        </a:lt1>
        <a:dk2>
          <a:srgbClr val="00C6D7"/>
        </a:dk2>
        <a:lt2>
          <a:srgbClr val="808080"/>
        </a:lt2>
        <a:accent1>
          <a:srgbClr val="BBE0E3"/>
        </a:accent1>
        <a:accent2>
          <a:srgbClr val="333399"/>
        </a:accent2>
        <a:accent3>
          <a:srgbClr val="FFFFFF"/>
        </a:accent3>
        <a:accent4>
          <a:srgbClr val="0E3444"/>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Telefónica">
    <a:dk1>
      <a:srgbClr val="003245"/>
    </a:dk1>
    <a:lt1>
      <a:srgbClr val="FFFFFF"/>
    </a:lt1>
    <a:dk2>
      <a:srgbClr val="003245"/>
    </a:dk2>
    <a:lt2>
      <a:srgbClr val="FFFFFF"/>
    </a:lt2>
    <a:accent1>
      <a:srgbClr val="003245"/>
    </a:accent1>
    <a:accent2>
      <a:srgbClr val="006476"/>
    </a:accent2>
    <a:accent3>
      <a:srgbClr val="008597"/>
    </a:accent3>
    <a:accent4>
      <a:srgbClr val="0095A7"/>
    </a:accent4>
    <a:accent5>
      <a:srgbClr val="4BACC6"/>
    </a:accent5>
    <a:accent6>
      <a:srgbClr val="00C6DA"/>
    </a:accent6>
    <a:hlink>
      <a:srgbClr val="00C6DA"/>
    </a:hlink>
    <a:folHlink>
      <a:srgbClr val="00C6D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94D39951114734F8F2CD5BB541FD2E2" ma:contentTypeVersion="1" ma:contentTypeDescription="Create a new document." ma:contentTypeScope="" ma:versionID="212bc6be7b5392a8b1b6de368450f57f">
  <xsd:schema xmlns:xsd="http://www.w3.org/2001/XMLSchema" xmlns:xs="http://www.w3.org/2001/XMLSchema" xmlns:p="http://schemas.microsoft.com/office/2006/metadata/properties" xmlns:ns1="http://schemas.microsoft.com/sharepoint/v3" targetNamespace="http://schemas.microsoft.com/office/2006/metadata/properties" ma:root="true" ma:fieldsID="ded79842d4747cc85621c7c303666abe"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A845DEC3-11CD-44FD-95E3-009E6E334FFD}"/>
</file>

<file path=customXml/itemProps2.xml><?xml version="1.0" encoding="utf-8"?>
<ds:datastoreItem xmlns:ds="http://schemas.openxmlformats.org/officeDocument/2006/customXml" ds:itemID="{0C3A6512-22CF-4329-86D1-FD1054240BD0}"/>
</file>

<file path=customXml/itemProps3.xml><?xml version="1.0" encoding="utf-8"?>
<ds:datastoreItem xmlns:ds="http://schemas.openxmlformats.org/officeDocument/2006/customXml" ds:itemID="{E1DA4C91-36E9-4CCF-A301-D2017EB1CA6E}"/>
</file>

<file path=docProps/app.xml><?xml version="1.0" encoding="utf-8"?>
<Properties xmlns="http://schemas.openxmlformats.org/officeDocument/2006/extended-properties" xmlns:vt="http://schemas.openxmlformats.org/officeDocument/2006/docPropsVTypes">
  <TotalTime>1656</TotalTime>
  <Words>516</Words>
  <Application>Microsoft Office PowerPoint</Application>
  <PresentationFormat>On-screen Show (4:3)</PresentationFormat>
  <Paragraphs>102</Paragraphs>
  <Slides>9</Slides>
  <Notes>6</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9</vt:i4>
      </vt:variant>
    </vt:vector>
  </HeadingPairs>
  <TitlesOfParts>
    <vt:vector size="19" baseType="lpstr">
      <vt:lpstr>PortadaTelefonica</vt:lpstr>
      <vt:lpstr>Telefónica</vt:lpstr>
      <vt:lpstr>1_Telefónica</vt:lpstr>
      <vt:lpstr>2_Telefónica</vt:lpstr>
      <vt:lpstr>3_Telefónica</vt:lpstr>
      <vt:lpstr>1_Cierre Telefonica</vt:lpstr>
      <vt:lpstr>Diseño personalizado</vt:lpstr>
      <vt:lpstr>4_Telefónica</vt:lpstr>
      <vt:lpstr>1_Diseño personalizad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adalupe Guisado</dc:creator>
  <cp:lastModifiedBy>Ilboudo Rose Marie Melissa </cp:lastModifiedBy>
  <cp:revision>193</cp:revision>
  <dcterms:created xsi:type="dcterms:W3CDTF">2013-10-10T14:17:42Z</dcterms:created>
  <dcterms:modified xsi:type="dcterms:W3CDTF">2014-03-12T13:1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4D39951114734F8F2CD5BB541FD2E2</vt:lpwstr>
  </property>
</Properties>
</file>